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av" ContentType="audio/wav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65" r:id="rId1"/>
  </p:sldMasterIdLst>
  <p:notesMasterIdLst>
    <p:notesMasterId r:id="rId34"/>
  </p:notesMasterIdLst>
  <p:handoutMasterIdLst>
    <p:handoutMasterId r:id="rId35"/>
  </p:handoutMasterIdLst>
  <p:sldIdLst>
    <p:sldId id="485" r:id="rId2"/>
    <p:sldId id="488" r:id="rId3"/>
    <p:sldId id="529" r:id="rId4"/>
    <p:sldId id="489" r:id="rId5"/>
    <p:sldId id="490" r:id="rId6"/>
    <p:sldId id="486" r:id="rId7"/>
    <p:sldId id="516" r:id="rId8"/>
    <p:sldId id="492" r:id="rId9"/>
    <p:sldId id="535" r:id="rId10"/>
    <p:sldId id="536" r:id="rId11"/>
    <p:sldId id="518" r:id="rId12"/>
    <p:sldId id="519" r:id="rId13"/>
    <p:sldId id="520" r:id="rId14"/>
    <p:sldId id="522" r:id="rId15"/>
    <p:sldId id="523" r:id="rId16"/>
    <p:sldId id="545" r:id="rId17"/>
    <p:sldId id="539" r:id="rId18"/>
    <p:sldId id="487" r:id="rId19"/>
    <p:sldId id="498" r:id="rId20"/>
    <p:sldId id="493" r:id="rId21"/>
    <p:sldId id="497" r:id="rId22"/>
    <p:sldId id="494" r:id="rId23"/>
    <p:sldId id="495" r:id="rId24"/>
    <p:sldId id="496" r:id="rId25"/>
    <p:sldId id="499" r:id="rId26"/>
    <p:sldId id="500" r:id="rId27"/>
    <p:sldId id="501" r:id="rId28"/>
    <p:sldId id="551" r:id="rId29"/>
    <p:sldId id="552" r:id="rId30"/>
    <p:sldId id="502" r:id="rId31"/>
    <p:sldId id="544" r:id="rId32"/>
    <p:sldId id="503" r:id="rId33"/>
  </p:sldIdLst>
  <p:sldSz cx="12192000" cy="6858000"/>
  <p:notesSz cx="6669088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8025" autoAdjust="0"/>
    <p:restoredTop sz="94660"/>
  </p:normalViewPr>
  <p:slideViewPr>
    <p:cSldViewPr>
      <p:cViewPr varScale="1">
        <p:scale>
          <a:sx n="88" d="100"/>
          <a:sy n="88" d="100"/>
        </p:scale>
        <p:origin x="355" y="67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7325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png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png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png"/></Relationships>
</file>

<file path=ppt/drawings/_rels/vmlDrawing7.vml.rels><?xml version="1.0" encoding="UTF-8" standalone="yes"?>
<Relationships xmlns="http://schemas.openxmlformats.org/package/2006/relationships"><Relationship Id="rId3" Type="http://schemas.openxmlformats.org/officeDocument/2006/relationships/image" Target="../media/image27.wmf"/><Relationship Id="rId2" Type="http://schemas.openxmlformats.org/officeDocument/2006/relationships/image" Target="../media/image26.wmf"/><Relationship Id="rId1" Type="http://schemas.openxmlformats.org/officeDocument/2006/relationships/image" Target="../media/image25.png"/><Relationship Id="rId4" Type="http://schemas.openxmlformats.org/officeDocument/2006/relationships/image" Target="../media/image28.w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9066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BE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776866" y="0"/>
            <a:ext cx="289066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692F5B-742B-410C-86AA-12FE0FD0D2E0}" type="datetimeFigureOut">
              <a:rPr lang="fr-BE" smtClean="0"/>
              <a:pPr/>
              <a:t>17-09-19</a:t>
            </a:fld>
            <a:endParaRPr lang="fr-BE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890665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BE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776866" y="9429750"/>
            <a:ext cx="2890665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57D65E-EE7A-4229-8858-0F394FA6310C}" type="slidenum">
              <a:rPr lang="fr-BE" smtClean="0"/>
              <a:pPr/>
              <a:t>‹N°›</a:t>
            </a:fld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12972985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8056"/>
          </a:xfrm>
          <a:prstGeom prst="rect">
            <a:avLst/>
          </a:prstGeom>
        </p:spPr>
        <p:txBody>
          <a:bodyPr vert="horz" lIns="95558" tIns="47779" rIns="95558" bIns="47779" rtlCol="0"/>
          <a:lstStyle>
            <a:lvl1pPr algn="l">
              <a:defRPr sz="1200"/>
            </a:lvl1pPr>
          </a:lstStyle>
          <a:p>
            <a:endParaRPr lang="fr-BE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8056"/>
          </a:xfrm>
          <a:prstGeom prst="rect">
            <a:avLst/>
          </a:prstGeom>
        </p:spPr>
        <p:txBody>
          <a:bodyPr vert="horz" lIns="95558" tIns="47779" rIns="95558" bIns="47779" rtlCol="0"/>
          <a:lstStyle>
            <a:lvl1pPr algn="r">
              <a:defRPr sz="1200"/>
            </a:lvl1pPr>
          </a:lstStyle>
          <a:p>
            <a:fld id="{DA0980DB-F968-4E16-83DC-7E57E59D4C0F}" type="datetimeFigureOut">
              <a:rPr lang="fr-BE" smtClean="0"/>
              <a:pPr/>
              <a:t>17-09-19</a:t>
            </a:fld>
            <a:endParaRPr lang="fr-BE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57188" y="1239838"/>
            <a:ext cx="5954712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58" tIns="47779" rIns="95558" bIns="47779" rtlCol="0" anchor="ctr"/>
          <a:lstStyle/>
          <a:p>
            <a:endParaRPr lang="fr-BE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66909" y="4777195"/>
            <a:ext cx="5335270" cy="3908614"/>
          </a:xfrm>
          <a:prstGeom prst="rect">
            <a:avLst/>
          </a:prstGeom>
        </p:spPr>
        <p:txBody>
          <a:bodyPr vert="horz" lIns="95558" tIns="47779" rIns="95558" bIns="47779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5"/>
            <a:ext cx="2889938" cy="498055"/>
          </a:xfrm>
          <a:prstGeom prst="rect">
            <a:avLst/>
          </a:prstGeom>
        </p:spPr>
        <p:txBody>
          <a:bodyPr vert="horz" lIns="95558" tIns="47779" rIns="95558" bIns="47779" rtlCol="0" anchor="b"/>
          <a:lstStyle>
            <a:lvl1pPr algn="l">
              <a:defRPr sz="1200"/>
            </a:lvl1pPr>
          </a:lstStyle>
          <a:p>
            <a:endParaRPr lang="fr-BE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777607" y="9428585"/>
            <a:ext cx="2889938" cy="498055"/>
          </a:xfrm>
          <a:prstGeom prst="rect">
            <a:avLst/>
          </a:prstGeom>
        </p:spPr>
        <p:txBody>
          <a:bodyPr vert="horz" lIns="95558" tIns="47779" rIns="95558" bIns="47779" rtlCol="0" anchor="b"/>
          <a:lstStyle>
            <a:lvl1pPr algn="r">
              <a:defRPr sz="1200"/>
            </a:lvl1pPr>
          </a:lstStyle>
          <a:p>
            <a:fld id="{9B9B8F78-0E62-45B0-B8F0-287094A40530}" type="slidenum">
              <a:rPr lang="fr-BE" smtClean="0"/>
              <a:pPr/>
              <a:t>‹N°›</a:t>
            </a:fld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21673758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35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30CC028-33DD-4E85-AB51-914B3EAB8CE2}" type="slidenum">
              <a:rPr lang="fr-FR" smtClean="0"/>
              <a:pPr/>
              <a:t>1</a:t>
            </a:fld>
            <a:endParaRPr lang="fr-FR" dirty="0"/>
          </a:p>
        </p:txBody>
      </p:sp>
      <p:sp>
        <p:nvSpPr>
          <p:cNvPr id="3635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6352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6471337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C0A90DF-1686-4476-A81D-D05DA0CC4BBB}" type="slidenum">
              <a:rPr lang="en-GB" altLang="fr-FR"/>
              <a:pPr/>
              <a:t>24</a:t>
            </a:fld>
            <a:endParaRPr lang="en-GB" altLang="fr-FR"/>
          </a:p>
        </p:txBody>
      </p:sp>
      <p:sp>
        <p:nvSpPr>
          <p:cNvPr id="4935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357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225692515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A3A91F1-2DD0-4771-BCF0-C1F819E6081A}" type="slidenum">
              <a:rPr lang="en-GB" altLang="fr-FR"/>
              <a:pPr/>
              <a:t>25</a:t>
            </a:fld>
            <a:endParaRPr lang="en-GB" altLang="fr-FR" dirty="0"/>
          </a:p>
        </p:txBody>
      </p:sp>
      <p:sp>
        <p:nvSpPr>
          <p:cNvPr id="495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56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160660277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A5B5BEF-7265-40D5-B3B8-A58478F4617C}" type="slidenum">
              <a:rPr lang="en-GB" altLang="fr-FR"/>
              <a:pPr/>
              <a:t>26</a:t>
            </a:fld>
            <a:endParaRPr lang="en-GB" altLang="fr-FR" dirty="0"/>
          </a:p>
        </p:txBody>
      </p:sp>
      <p:sp>
        <p:nvSpPr>
          <p:cNvPr id="4966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66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107540534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8ECFB35-A3F0-47E0-A23A-582ECB77C0AA}" type="slidenum">
              <a:rPr lang="en-GB" altLang="fr-FR"/>
              <a:pPr/>
              <a:t>31</a:t>
            </a:fld>
            <a:endParaRPr lang="en-GB" altLang="fr-FR" dirty="0"/>
          </a:p>
        </p:txBody>
      </p:sp>
      <p:sp>
        <p:nvSpPr>
          <p:cNvPr id="4976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76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1638339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6503891-1D39-4934-8E82-068A4EB3EDC5}" type="slidenum">
              <a:rPr lang="en-GB" altLang="fr-FR"/>
              <a:pPr/>
              <a:t>2</a:t>
            </a:fld>
            <a:endParaRPr lang="en-GB" altLang="fr-FR" dirty="0"/>
          </a:p>
        </p:txBody>
      </p:sp>
      <p:sp>
        <p:nvSpPr>
          <p:cNvPr id="4864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8640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11119710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FC6E468-A0B4-4F6B-B494-B43542DB94E5}" type="slidenum">
              <a:rPr lang="en-GB" altLang="fr-FR"/>
              <a:pPr/>
              <a:t>4</a:t>
            </a:fld>
            <a:endParaRPr lang="en-GB" altLang="fr-FR" dirty="0"/>
          </a:p>
        </p:txBody>
      </p:sp>
      <p:sp>
        <p:nvSpPr>
          <p:cNvPr id="4259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59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34230742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700032B-1099-41A7-A4AF-303001AB2C31}" type="slidenum">
              <a:rPr lang="en-GB" altLang="fr-FR"/>
              <a:pPr/>
              <a:t>8</a:t>
            </a:fld>
            <a:endParaRPr lang="en-GB" altLang="fr-FR"/>
          </a:p>
        </p:txBody>
      </p:sp>
      <p:sp>
        <p:nvSpPr>
          <p:cNvPr id="4403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203450" y="515938"/>
            <a:ext cx="4567238" cy="2570162"/>
          </a:xfrm>
          <a:ln/>
        </p:spPr>
      </p:sp>
      <p:sp>
        <p:nvSpPr>
          <p:cNvPr id="4403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190035" y="3261526"/>
            <a:ext cx="6593041" cy="2885977"/>
          </a:xfrm>
        </p:spPr>
        <p:txBody>
          <a:bodyPr/>
          <a:lstStyle/>
          <a:p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7313088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DA21298-6AE6-4CA2-949C-445981545BFB}" type="slidenum">
              <a:rPr lang="en-GB" altLang="fr-FR"/>
              <a:pPr/>
              <a:t>19</a:t>
            </a:fld>
            <a:endParaRPr lang="en-GB" altLang="fr-FR"/>
          </a:p>
        </p:txBody>
      </p:sp>
      <p:sp>
        <p:nvSpPr>
          <p:cNvPr id="494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4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4092528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481AF88-FE0C-4EB6-B44B-ADEBF2BC7DFE}" type="slidenum">
              <a:rPr lang="en-GB" altLang="fr-FR"/>
              <a:pPr/>
              <a:t>20</a:t>
            </a:fld>
            <a:endParaRPr lang="en-GB" altLang="fr-FR" dirty="0"/>
          </a:p>
        </p:txBody>
      </p:sp>
      <p:sp>
        <p:nvSpPr>
          <p:cNvPr id="4904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04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4562791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FD4B854-3CD9-489F-BCE0-179B1BA33E31}" type="slidenum">
              <a:rPr lang="en-GB" altLang="fr-FR"/>
              <a:pPr/>
              <a:t>21</a:t>
            </a:fld>
            <a:endParaRPr lang="en-GB" altLang="fr-FR"/>
          </a:p>
        </p:txBody>
      </p:sp>
      <p:sp>
        <p:nvSpPr>
          <p:cNvPr id="4894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8947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29361409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5CC8935-BFB0-4ADC-8337-15A75372AB57}" type="slidenum">
              <a:rPr lang="en-GB" altLang="fr-FR"/>
              <a:pPr/>
              <a:t>22</a:t>
            </a:fld>
            <a:endParaRPr lang="en-GB" altLang="fr-FR" dirty="0"/>
          </a:p>
        </p:txBody>
      </p:sp>
      <p:sp>
        <p:nvSpPr>
          <p:cNvPr id="4915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15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34101125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5FFF4CB-A282-47B7-847C-0BB319DAE524}" type="slidenum">
              <a:rPr lang="en-GB" altLang="fr-FR"/>
              <a:pPr/>
              <a:t>23</a:t>
            </a:fld>
            <a:endParaRPr lang="en-GB" altLang="fr-FR"/>
          </a:p>
        </p:txBody>
      </p:sp>
      <p:sp>
        <p:nvSpPr>
          <p:cNvPr id="4925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25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6064374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age 2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0"/>
            <a:ext cx="5850269" cy="1836101"/>
          </a:xfrm>
          <a:prstGeom prst="rect">
            <a:avLst/>
          </a:prstGeom>
        </p:spPr>
      </p:pic>
      <p:sp>
        <p:nvSpPr>
          <p:cNvPr id="36" name="Rectangle 35"/>
          <p:cNvSpPr/>
          <p:nvPr userDrawn="1"/>
        </p:nvSpPr>
        <p:spPr>
          <a:xfrm>
            <a:off x="-1" y="5664000"/>
            <a:ext cx="4475545" cy="1200000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816485" y="2515565"/>
            <a:ext cx="9414104" cy="1605024"/>
          </a:xfrm>
        </p:spPr>
        <p:txBody>
          <a:bodyPr anchor="t">
            <a:normAutofit/>
          </a:bodyPr>
          <a:lstStyle>
            <a:lvl1pPr algn="l">
              <a:defRPr sz="4000" b="1">
                <a:solidFill>
                  <a:srgbClr val="49C5B1"/>
                </a:solidFill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11230589" y="612735"/>
            <a:ext cx="961411" cy="1200000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</p:spTree>
    <p:extLst>
      <p:ext uri="{BB962C8B-B14F-4D97-AF65-F5344CB8AC3E}">
        <p14:creationId xmlns:p14="http://schemas.microsoft.com/office/powerpoint/2010/main" val="3991231048"/>
      </p:ext>
    </p:extLst>
  </p:cSld>
  <p:clrMapOvr>
    <a:masterClrMapping/>
  </p:clrMapOvr>
  <p:transition>
    <p:randomBar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350973924"/>
      </p:ext>
    </p:extLst>
  </p:cSld>
  <p:clrMapOvr>
    <a:masterClrMapping/>
  </p:clrMapOvr>
  <p:transition>
    <p:randomBar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 hasCustomPrompt="1"/>
          </p:nvPr>
        </p:nvSpPr>
        <p:spPr>
          <a:xfrm>
            <a:off x="8839200" y="206375"/>
            <a:ext cx="2743200" cy="4387851"/>
          </a:xfrm>
        </p:spPr>
        <p:txBody>
          <a:bodyPr vert="eaVert"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609600" y="206375"/>
            <a:ext cx="8026400" cy="4387851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078320459"/>
      </p:ext>
    </p:extLst>
  </p:cSld>
  <p:clrMapOvr>
    <a:masterClrMapping/>
  </p:clrMapOvr>
  <p:transition>
    <p:randomBar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color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Shape 44"/>
          <p:cNvSpPr/>
          <p:nvPr/>
        </p:nvSpPr>
        <p:spPr>
          <a:xfrm>
            <a:off x="0" y="0"/>
            <a:ext cx="12192000" cy="4994400"/>
          </a:xfrm>
          <a:prstGeom prst="rect">
            <a:avLst/>
          </a:prstGeom>
          <a:solidFill>
            <a:srgbClr val="0092D2"/>
          </a:solidFill>
          <a:ln>
            <a:noFill/>
          </a:ln>
        </p:spPr>
        <p:txBody>
          <a:bodyPr lIns="121895" tIns="121895" rIns="121895" bIns="12189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sz="1800" dirty="0"/>
          </a:p>
        </p:txBody>
      </p:sp>
      <p:sp>
        <p:nvSpPr>
          <p:cNvPr id="45" name="Shape 45"/>
          <p:cNvSpPr txBox="1">
            <a:spLocks noGrp="1"/>
          </p:cNvSpPr>
          <p:nvPr>
            <p:ph type="title"/>
          </p:nvPr>
        </p:nvSpPr>
        <p:spPr>
          <a:xfrm>
            <a:off x="1125900" y="563333"/>
            <a:ext cx="4302400" cy="1143200"/>
          </a:xfrm>
          <a:prstGeom prst="rect">
            <a:avLst/>
          </a:prstGeom>
        </p:spPr>
        <p:txBody>
          <a:bodyPr lIns="121894" tIns="121894" rIns="121894" bIns="121894" anchor="t" anchorCtr="0"/>
          <a:lstStyle>
            <a:lvl1pPr lvl="0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1pPr>
            <a:lvl2pPr lvl="1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buClr>
                <a:srgbClr val="FFFFFF"/>
              </a:buClr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46" name="Shape 46"/>
          <p:cNvSpPr/>
          <p:nvPr/>
        </p:nvSpPr>
        <p:spPr>
          <a:xfrm>
            <a:off x="772000" y="772003"/>
            <a:ext cx="72400" cy="90079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121895" tIns="121895" rIns="121895" bIns="12189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sz="1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8572648"/>
      </p:ext>
    </p:extLst>
  </p:cSld>
  <p:clrMapOvr>
    <a:masterClrMapping/>
  </p:clrMapOvr>
  <p:transition>
    <p:randomBar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fr-FR"/>
              <a:t>Cliquez pour modifier le style du titre</a:t>
            </a:r>
            <a:endParaRPr lang="de-DE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/>
              <a:t>Cliquez pour modifier le style des sous-titres du masque</a:t>
            </a:r>
            <a:endParaRPr lang="de-DE"/>
          </a:p>
        </p:txBody>
      </p:sp>
      <p:sp>
        <p:nvSpPr>
          <p:cNvPr id="4" name="Rectangle 2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18AA94-026F-4740-9472-5031160C124B}" type="slidenum">
              <a:rPr lang="fr-FR" smtClean="0">
                <a:latin typeface="Calibri" panose="020F0502020204030204" pitchFamily="34" charset="0"/>
              </a:rPr>
              <a:pPr>
                <a:defRPr/>
              </a:pPr>
              <a:t>‹N°›</a:t>
            </a:fld>
            <a:r>
              <a:rPr lang="fr-FR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150748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077447"/>
            <a:ext cx="10972800" cy="144655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 sz="2400">
                <a:solidFill>
                  <a:srgbClr val="1C3250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>
              <a:defRPr sz="2000">
                <a:solidFill>
                  <a:srgbClr val="1C3250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2pPr>
            <a:lvl3pPr>
              <a:defRPr sz="1800">
                <a:solidFill>
                  <a:srgbClr val="1C3250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3pPr>
            <a:lvl4pPr>
              <a:defRPr sz="1600">
                <a:solidFill>
                  <a:srgbClr val="1C3250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4pPr>
            <a:lvl5pPr>
              <a:defRPr sz="1600">
                <a:solidFill>
                  <a:srgbClr val="1C3250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5pPr>
          </a:lstStyle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fr-BE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609600" y="331169"/>
            <a:ext cx="9297285" cy="430887"/>
          </a:xfrm>
          <a:prstGeom prst="rect">
            <a:avLst/>
          </a:prstGeom>
        </p:spPr>
        <p:txBody>
          <a:bodyPr/>
          <a:lstStyle>
            <a:lvl1pPr algn="l">
              <a:defRPr sz="2800">
                <a:solidFill>
                  <a:srgbClr val="1C3250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nl-NL" smtClean="0"/>
              <a:t>Klik om de stijl te bewerken</a:t>
            </a:r>
            <a:endParaRPr lang="fr-BE" dirty="0"/>
          </a:p>
        </p:txBody>
      </p:sp>
      <p:sp>
        <p:nvSpPr>
          <p:cNvPr id="12" name="Line 7"/>
          <p:cNvSpPr>
            <a:spLocks noChangeShapeType="1"/>
          </p:cNvSpPr>
          <p:nvPr userDrawn="1"/>
        </p:nvSpPr>
        <p:spPr bwMode="auto">
          <a:xfrm flipV="1">
            <a:off x="609600" y="908720"/>
            <a:ext cx="10972800" cy="5680"/>
          </a:xfrm>
          <a:prstGeom prst="line">
            <a:avLst/>
          </a:prstGeom>
          <a:noFill/>
          <a:ln w="15875">
            <a:solidFill>
              <a:srgbClr val="1C3250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1800" dirty="0">
              <a:cs typeface="+mn-cs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400438"/>
            <a:ext cx="3182144" cy="2769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nl-BE" dirty="0" smtClean="0"/>
              <a:t>Date</a:t>
            </a:r>
            <a:endParaRPr lang="fr-BE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400438"/>
            <a:ext cx="3860800" cy="2769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- CONFIDENTIAL -</a:t>
            </a:r>
            <a:endParaRPr lang="fr-BE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400438"/>
            <a:ext cx="2844800" cy="2769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447D3AE0-FB8A-4915-B100-4144755AAF93}" type="slidenum">
              <a:rPr lang="fr-BE" smtClean="0"/>
              <a:pPr>
                <a:defRPr/>
              </a:pPr>
              <a:t>‹N°›</a:t>
            </a:fld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2700106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22573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re et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016000" y="762000"/>
            <a:ext cx="10363200" cy="114300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graphique 2"/>
          <p:cNvSpPr>
            <a:spLocks noGrp="1"/>
          </p:cNvSpPr>
          <p:nvPr>
            <p:ph type="chart" idx="1"/>
          </p:nvPr>
        </p:nvSpPr>
        <p:spPr>
          <a:xfrm>
            <a:off x="914400" y="1905000"/>
            <a:ext cx="10363200" cy="41148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>
          <a:xfrm>
            <a:off x="914400" y="6400800"/>
            <a:ext cx="2540000" cy="457200"/>
          </a:xfrm>
        </p:spPr>
        <p:txBody>
          <a:bodyPr/>
          <a:lstStyle>
            <a:lvl1pPr>
              <a:defRPr/>
            </a:lvl1pPr>
          </a:lstStyle>
          <a:p>
            <a:fld id="{BC06B25A-079F-4755-BD65-629C78B87BC7}" type="slidenum">
              <a:rPr lang="en-GB" altLang="fr-FR"/>
              <a:pPr/>
              <a:t>‹N°›</a:t>
            </a:fld>
            <a:endParaRPr lang="en-GB" altLang="fr-FR" dirty="0"/>
          </a:p>
        </p:txBody>
      </p:sp>
    </p:spTree>
    <p:extLst>
      <p:ext uri="{BB962C8B-B14F-4D97-AF65-F5344CB8AC3E}">
        <p14:creationId xmlns:p14="http://schemas.microsoft.com/office/powerpoint/2010/main" val="2376643325"/>
      </p:ext>
    </p:extLst>
  </p:cSld>
  <p:clrMapOvr>
    <a:masterClrMapping/>
  </p:clrMapOvr>
  <p:transition>
    <p:split orient="vert" dir="in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re. Text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016000" y="762000"/>
            <a:ext cx="10363200" cy="114300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914400" y="1905000"/>
            <a:ext cx="5080000" cy="4114800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97600" y="1905000"/>
            <a:ext cx="5080000" cy="4114800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>
          <a:xfrm>
            <a:off x="914400" y="6400800"/>
            <a:ext cx="2540000" cy="457200"/>
          </a:xfrm>
        </p:spPr>
        <p:txBody>
          <a:bodyPr/>
          <a:lstStyle>
            <a:lvl1pPr>
              <a:defRPr/>
            </a:lvl1pPr>
          </a:lstStyle>
          <a:p>
            <a:fld id="{8BB1DB6C-65CC-4C6B-8FE7-B9588D7691DD}" type="slidenum">
              <a:rPr lang="en-GB" altLang="fr-FR"/>
              <a:pPr/>
              <a:t>‹N°›</a:t>
            </a:fld>
            <a:endParaRPr lang="en-GB" altLang="fr-FR" dirty="0"/>
          </a:p>
        </p:txBody>
      </p:sp>
    </p:spTree>
    <p:extLst>
      <p:ext uri="{BB962C8B-B14F-4D97-AF65-F5344CB8AC3E}">
        <p14:creationId xmlns:p14="http://schemas.microsoft.com/office/powerpoint/2010/main" val="335872315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692871127"/>
      </p:ext>
    </p:extLst>
  </p:cSld>
  <p:clrMapOvr>
    <a:masterClrMapping/>
  </p:clrMapOvr>
  <p:transition>
    <p:randomBar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>
            <a:normAutofit/>
          </a:bodyPr>
          <a:lstStyle>
            <a:lvl1pPr algn="l">
              <a:defRPr sz="4800" b="1" cap="all"/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430163930"/>
      </p:ext>
    </p:extLst>
  </p:cSld>
  <p:clrMapOvr>
    <a:masterClrMapping/>
  </p:clrMapOvr>
  <p:transition>
    <p:randomBar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 anchor="ctr"/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005736" y="1200151"/>
            <a:ext cx="4988664" cy="3394075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97600" y="1200151"/>
            <a:ext cx="5032136" cy="3394075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968665203"/>
      </p:ext>
    </p:extLst>
  </p:cSld>
  <p:clrMapOvr>
    <a:masterClrMapping/>
  </p:clrMapOvr>
  <p:transition>
    <p:randomBar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609600" y="274639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51590168"/>
      </p:ext>
    </p:extLst>
  </p:cSld>
  <p:clrMapOvr>
    <a:masterClrMapping/>
  </p:clrMapOvr>
  <p:transition>
    <p:randomBar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CLIQUEZ ET MODIFIEZ LE TITRE</a:t>
            </a:r>
          </a:p>
        </p:txBody>
      </p:sp>
    </p:spTree>
    <p:extLst>
      <p:ext uri="{BB962C8B-B14F-4D97-AF65-F5344CB8AC3E}">
        <p14:creationId xmlns:p14="http://schemas.microsoft.com/office/powerpoint/2010/main" val="400819107"/>
      </p:ext>
    </p:extLst>
  </p:cSld>
  <p:clrMapOvr>
    <a:masterClrMapping/>
  </p:clrMapOvr>
  <p:transition>
    <p:randomBar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9444404"/>
      </p:ext>
    </p:extLst>
  </p:cSld>
  <p:clrMapOvr>
    <a:masterClrMapping/>
  </p:clrMapOvr>
  <p:transition>
    <p:randomBar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609602" y="273049"/>
            <a:ext cx="4011084" cy="11620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728900325"/>
      </p:ext>
    </p:extLst>
  </p:cSld>
  <p:clrMapOvr>
    <a:masterClrMapping/>
  </p:clrMapOvr>
  <p:transition>
    <p:randomBar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2389717" y="4800600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589422153"/>
      </p:ext>
    </p:extLst>
  </p:cSld>
  <p:clrMapOvr>
    <a:masterClrMapping/>
  </p:clrMapOvr>
  <p:transition>
    <p:randomBar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jp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738909" y="274639"/>
            <a:ext cx="10490827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38909" y="1600201"/>
            <a:ext cx="10490827" cy="43037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37791433-DE50-4973-8994-9A3838F8617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592000" y="6538000"/>
            <a:ext cx="1600000" cy="320000"/>
          </a:xfrm>
          <a:prstGeom prst="rect">
            <a:avLst/>
          </a:prstGeom>
          <a:solidFill>
            <a:srgbClr val="49C5B1"/>
          </a:solidFill>
          <a:ln>
            <a:noFill/>
          </a:ln>
          <a:extLst/>
        </p:spPr>
        <p:txBody>
          <a:bodyPr/>
          <a:lstStyle/>
          <a:p>
            <a:endParaRPr lang="fr-FR" sz="4267" dirty="0">
              <a:solidFill>
                <a:srgbClr val="6CD0C0"/>
              </a:solidFill>
            </a:endParaRPr>
          </a:p>
        </p:txBody>
      </p:sp>
      <p:sp>
        <p:nvSpPr>
          <p:cNvPr id="15" name="ZoneTexte 12">
            <a:extLst>
              <a:ext uri="{FF2B5EF4-FFF2-40B4-BE49-F238E27FC236}">
                <a16:creationId xmlns:a16="http://schemas.microsoft.com/office/drawing/2014/main" id="{7C19693F-C9FA-42E6-AF6C-6A124D6AD6D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52085" y="6502830"/>
            <a:ext cx="543991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algn="r" eaLnBrk="1" hangingPunct="1"/>
            <a:r>
              <a:rPr lang="fr-FR" sz="16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rvice public de Wallonie</a:t>
            </a:r>
            <a:r>
              <a:rPr lang="fr-FR" sz="1600" b="1" dirty="0">
                <a:solidFill>
                  <a:srgbClr val="002D5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600" b="1" kern="1200" dirty="0">
                <a:solidFill>
                  <a:srgbClr val="49C5B1"/>
                </a:solidFill>
                <a:effectLst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mobilité infrastructures</a:t>
            </a:r>
            <a:endParaRPr lang="fr-FR" sz="1600" b="1" dirty="0">
              <a:solidFill>
                <a:srgbClr val="49C5B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FAA2A66E-6A95-43AE-9D85-178BD5FA0F58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086562"/>
            <a:ext cx="2479807" cy="778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897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83" r:id="rId13"/>
    <p:sldLayoutId id="2147483684" r:id="rId14"/>
    <p:sldLayoutId id="2147483685" r:id="rId15"/>
    <p:sldLayoutId id="2147483686" r:id="rId16"/>
    <p:sldLayoutId id="2147483687" r:id="rId17"/>
  </p:sldLayoutIdLst>
  <p:transition>
    <p:randomBar/>
  </p:transition>
  <p:txStyles>
    <p:titleStyle>
      <a:lvl1pPr algn="l" defTabSz="609585" rtl="0" eaLnBrk="1" latinLnBrk="0" hangingPunct="1">
        <a:spcBef>
          <a:spcPct val="0"/>
        </a:spcBef>
        <a:buNone/>
        <a:defRPr sz="3733" b="1" kern="1200">
          <a:solidFill>
            <a:srgbClr val="49C5B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2.bin"/><Relationship Id="rId4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6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14.emf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17.emf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0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oleObject" Target="../embeddings/oleObject6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3.png"/><Relationship Id="rId5" Type="http://schemas.openxmlformats.org/officeDocument/2006/relationships/oleObject" Target="../embeddings/oleObject5.bin"/><Relationship Id="rId4" Type="http://schemas.openxmlformats.org/officeDocument/2006/relationships/image" Target="../media/image2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oleObject" Target="../embeddings/oleObject8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3.png"/><Relationship Id="rId5" Type="http://schemas.openxmlformats.org/officeDocument/2006/relationships/oleObject" Target="../embeddings/oleObject7.bin"/><Relationship Id="rId4" Type="http://schemas.openxmlformats.org/officeDocument/2006/relationships/image" Target="../media/image2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oleObject" Target="../embeddings/oleObject10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3.png"/><Relationship Id="rId5" Type="http://schemas.openxmlformats.org/officeDocument/2006/relationships/oleObject" Target="../embeddings/oleObject9.bin"/><Relationship Id="rId4" Type="http://schemas.openxmlformats.org/officeDocument/2006/relationships/image" Target="../media/image24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0.jpe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26.wmf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12.bin"/><Relationship Id="rId11" Type="http://schemas.openxmlformats.org/officeDocument/2006/relationships/image" Target="../media/image28.wmf"/><Relationship Id="rId5" Type="http://schemas.openxmlformats.org/officeDocument/2006/relationships/image" Target="../media/image25.png"/><Relationship Id="rId10" Type="http://schemas.openxmlformats.org/officeDocument/2006/relationships/oleObject" Target="../embeddings/oleObject14.bin"/><Relationship Id="rId4" Type="http://schemas.openxmlformats.org/officeDocument/2006/relationships/oleObject" Target="../embeddings/oleObject11.bin"/><Relationship Id="rId9" Type="http://schemas.openxmlformats.org/officeDocument/2006/relationships/image" Target="../media/image27.wmf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8.vml"/><Relationship Id="rId4" Type="http://schemas.openxmlformats.org/officeDocument/2006/relationships/image" Target="../media/image30.w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14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850" name="Espace réservé de la date 3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fld id="{29C41EF2-A98A-4A7C-AB03-CF726D3E0543}" type="slidenum">
              <a:rPr lang="fr-FR" smtClean="0">
                <a:latin typeface="Calibri" panose="020F0502020204030204" pitchFamily="34" charset="0"/>
              </a:rPr>
              <a:pPr/>
              <a:t>1</a:t>
            </a:fld>
            <a:r>
              <a:rPr lang="fr-FR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1559496" y="476672"/>
            <a:ext cx="9433048" cy="43088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000" dirty="0">
                <a:solidFill>
                  <a:srgbClr val="49C5B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Journée Peinture à </a:t>
            </a:r>
            <a:r>
              <a:rPr lang="fr-FR" sz="4000" dirty="0" smtClean="0">
                <a:solidFill>
                  <a:srgbClr val="49C5B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l’eau</a:t>
            </a:r>
          </a:p>
          <a:p>
            <a:pPr algn="ctr"/>
            <a:r>
              <a:rPr lang="fr-FR" sz="4000" dirty="0" smtClean="0">
                <a:solidFill>
                  <a:srgbClr val="49C5B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17 Septembre 2019</a:t>
            </a:r>
          </a:p>
          <a:p>
            <a:endParaRPr lang="fr-FR" sz="4000" dirty="0">
              <a:solidFill>
                <a:srgbClr val="49C5B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  <a:p>
            <a:pPr algn="ctr"/>
            <a:r>
              <a:rPr lang="fr-FR" sz="4000" dirty="0" smtClean="0">
                <a:solidFill>
                  <a:srgbClr val="49C5B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Les billes de verre et les marquages routiers</a:t>
            </a:r>
          </a:p>
          <a:p>
            <a:endParaRPr lang="fr-FR" sz="4000" dirty="0">
              <a:solidFill>
                <a:srgbClr val="49C5B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  <a:p>
            <a:r>
              <a:rPr lang="fr-FR" sz="2800" dirty="0" smtClean="0">
                <a:solidFill>
                  <a:srgbClr val="49C5B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Pascal Hivert</a:t>
            </a:r>
          </a:p>
          <a:p>
            <a:r>
              <a:rPr lang="fr-FR" sz="2800" dirty="0" smtClean="0">
                <a:solidFill>
                  <a:srgbClr val="49C5B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Directeur Commercial Potters</a:t>
            </a:r>
          </a:p>
          <a:p>
            <a:endParaRPr lang="fr-F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8234CB-B594-463C-88C7-D15D9A7B6169}" type="slidenum">
              <a:rPr lang="en-GB" altLang="fr-FR"/>
              <a:pPr/>
              <a:t>10</a:t>
            </a:fld>
            <a:endParaRPr lang="en-GB" altLang="fr-FR"/>
          </a:p>
        </p:txBody>
      </p:sp>
      <p:sp>
        <p:nvSpPr>
          <p:cNvPr id="450562" name="Rectangle 2"/>
          <p:cNvSpPr>
            <a:spLocks noGrp="1" noChangeArrowheads="1"/>
          </p:cNvSpPr>
          <p:nvPr>
            <p:ph type="title"/>
          </p:nvPr>
        </p:nvSpPr>
        <p:spPr>
          <a:xfrm>
            <a:off x="2208213" y="188913"/>
            <a:ext cx="7772400" cy="1143000"/>
          </a:xfrm>
        </p:spPr>
        <p:txBody>
          <a:bodyPr>
            <a:normAutofit fontScale="90000"/>
          </a:bodyPr>
          <a:lstStyle/>
          <a:p>
            <a:pPr algn="ctr"/>
            <a:r>
              <a:rPr lang="fr-FR" altLang="fr-FR" sz="3600" dirty="0"/>
              <a:t>Vue d’un marquage en </a:t>
            </a:r>
            <a:r>
              <a:rPr lang="fr-FR" altLang="fr-FR" sz="3600" dirty="0" smtClean="0"/>
              <a:t>coupe, avec agrégats</a:t>
            </a:r>
            <a:endParaRPr lang="fr-FR" altLang="fr-FR" sz="2800" dirty="0"/>
          </a:p>
        </p:txBody>
      </p:sp>
      <p:sp>
        <p:nvSpPr>
          <p:cNvPr id="450563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2208214" y="1196975"/>
            <a:ext cx="5830887" cy="4114800"/>
          </a:xfrm>
        </p:spPr>
        <p:txBody>
          <a:bodyPr/>
          <a:lstStyle/>
          <a:p>
            <a:pPr marL="0" indent="0">
              <a:buClr>
                <a:srgbClr val="FF0000"/>
              </a:buClr>
              <a:buNone/>
            </a:pPr>
            <a:endParaRPr lang="fr-FR" altLang="fr-FR" sz="2000" u="sng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Ø"/>
            </a:pPr>
            <a:endParaRPr lang="fr-FR" altLang="fr-FR" sz="2000" u="sng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Ø"/>
            </a:pPr>
            <a:endParaRPr lang="fr-FR" altLang="fr-FR" sz="2000" u="sng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Ø"/>
            </a:pPr>
            <a:endParaRPr lang="fr-FR" altLang="fr-FR" sz="2000" u="sng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>
              <a:buClr>
                <a:srgbClr val="FF0000"/>
              </a:buClr>
              <a:buFont typeface="Wingdings" panose="05000000000000000000" pitchFamily="2" charset="2"/>
              <a:buNone/>
            </a:pPr>
            <a:endParaRPr lang="fr-FR" altLang="fr-FR" sz="2400" u="sng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>
              <a:buClr>
                <a:srgbClr val="FF0000"/>
              </a:buClr>
            </a:pPr>
            <a:endParaRPr lang="fr-FR" altLang="fr-FR" sz="2400" u="sng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>
              <a:buClr>
                <a:srgbClr val="FF0000"/>
              </a:buClr>
            </a:pPr>
            <a:endParaRPr lang="fr-FR" altLang="fr-FR" sz="2000" dirty="0"/>
          </a:p>
          <a:p>
            <a:pPr>
              <a:buClr>
                <a:srgbClr val="FF0000"/>
              </a:buClr>
            </a:pPr>
            <a:endParaRPr lang="fr-FR" altLang="fr-FR" sz="2800" dirty="0"/>
          </a:p>
        </p:txBody>
      </p:sp>
      <p:pic>
        <p:nvPicPr>
          <p:cNvPr id="450565" name="Picture 5" descr="photo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1813" y="2060576"/>
            <a:ext cx="5689600" cy="3376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79077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05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4505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05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4505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0562" grpId="0"/>
      <p:bldP spid="450563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8C458832-1D23-4FA9-8802-32036AEB628B}" type="slidenum">
              <a:rPr lang="en-GB" altLang="fr-FR"/>
              <a:pPr/>
              <a:t>11</a:t>
            </a:fld>
            <a:endParaRPr lang="en-GB" altLang="fr-FR"/>
          </a:p>
        </p:txBody>
      </p:sp>
      <p:sp>
        <p:nvSpPr>
          <p:cNvPr id="241666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fr-FR" altLang="fr-FR" sz="4000">
                <a:effectLst>
                  <a:outerShdw blurRad="38100" dist="38100" dir="2700000" algn="tl">
                    <a:srgbClr val="C0C0C0"/>
                  </a:outerShdw>
                </a:effectLst>
                <a:latin typeface="Tempus Sans ITC" panose="04020404030D07020202" pitchFamily="82" charset="0"/>
              </a:rPr>
              <a:t>LA SAINTE TRINITE DU MARQUAGE!</a:t>
            </a:r>
            <a:endParaRPr lang="fr-FR" altLang="fr-FR" sz="2400"/>
          </a:p>
        </p:txBody>
      </p:sp>
      <p:sp>
        <p:nvSpPr>
          <p:cNvPr id="2416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09800" y="2514600"/>
            <a:ext cx="7772400" cy="3505200"/>
          </a:xfrm>
        </p:spPr>
        <p:txBody>
          <a:bodyPr/>
          <a:lstStyle/>
          <a:p>
            <a:pPr>
              <a:buClr>
                <a:srgbClr val="FF0000"/>
              </a:buClr>
            </a:pPr>
            <a:r>
              <a:rPr lang="fr-FR" altLang="fr-FR" u="sng" dirty="0">
                <a:effectLst>
                  <a:outerShdw blurRad="38100" dist="38100" dir="2700000" algn="tl">
                    <a:srgbClr val="C0C0C0"/>
                  </a:outerShdw>
                </a:effectLst>
                <a:latin typeface="Tempus Sans ITC" panose="04020404030D07020202" pitchFamily="82" charset="0"/>
              </a:rPr>
              <a:t>DE BONS </a:t>
            </a:r>
            <a:r>
              <a:rPr lang="fr-FR" altLang="fr-FR" u="sng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Tempus Sans ITC" panose="04020404030D07020202" pitchFamily="82" charset="0"/>
              </a:rPr>
              <a:t>PRODUITS (</a:t>
            </a:r>
            <a:r>
              <a:rPr lang="fr-FR" altLang="fr-FR" u="sng" dirty="0" err="1" smtClean="0">
                <a:effectLst>
                  <a:outerShdw blurRad="38100" dist="38100" dir="2700000" algn="tl">
                    <a:srgbClr val="C0C0C0"/>
                  </a:outerShdw>
                </a:effectLst>
                <a:latin typeface="Tempus Sans ITC" panose="04020404030D07020202" pitchFamily="82" charset="0"/>
              </a:rPr>
              <a:t>Baillonville</a:t>
            </a:r>
            <a:r>
              <a:rPr lang="fr-FR" altLang="fr-FR" u="sng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Tempus Sans ITC" panose="04020404030D07020202" pitchFamily="82" charset="0"/>
              </a:rPr>
              <a:t>!)</a:t>
            </a:r>
            <a:endParaRPr lang="fr-FR" altLang="fr-FR" u="sng" dirty="0">
              <a:effectLst>
                <a:outerShdw blurRad="38100" dist="38100" dir="2700000" algn="tl">
                  <a:srgbClr val="C0C0C0"/>
                </a:outerShdw>
              </a:effectLst>
              <a:latin typeface="Tempus Sans ITC" panose="04020404030D07020202" pitchFamily="82" charset="0"/>
            </a:endParaRPr>
          </a:p>
          <a:p>
            <a:pPr>
              <a:buClr>
                <a:srgbClr val="FF0000"/>
              </a:buClr>
            </a:pPr>
            <a:r>
              <a:rPr lang="fr-FR" altLang="fr-FR" u="sng" dirty="0">
                <a:effectLst>
                  <a:outerShdw blurRad="38100" dist="38100" dir="2700000" algn="tl">
                    <a:srgbClr val="C0C0C0"/>
                  </a:outerShdw>
                </a:effectLst>
                <a:latin typeface="Tempus Sans ITC" panose="04020404030D07020202" pitchFamily="82" charset="0"/>
              </a:rPr>
              <a:t>DE BONS APPLICATEURS ET UN EQUIPEMENT BIEN REGLE</a:t>
            </a:r>
          </a:p>
          <a:p>
            <a:pPr>
              <a:buClr>
                <a:srgbClr val="FF0000"/>
              </a:buClr>
            </a:pPr>
            <a:r>
              <a:rPr lang="fr-FR" altLang="fr-FR" u="sng" dirty="0">
                <a:effectLst>
                  <a:outerShdw blurRad="38100" dist="38100" dir="2700000" algn="tl">
                    <a:srgbClr val="C0C0C0"/>
                  </a:outerShdw>
                </a:effectLst>
                <a:latin typeface="Tempus Sans ITC" panose="04020404030D07020202" pitchFamily="82" charset="0"/>
              </a:rPr>
              <a:t>UNE BONNE APPLICATION</a:t>
            </a:r>
            <a:endParaRPr lang="fr-FR" altLang="fr-FR" sz="2400" dirty="0"/>
          </a:p>
          <a:p>
            <a:pPr>
              <a:buClr>
                <a:srgbClr val="FF0000"/>
              </a:buClr>
            </a:pPr>
            <a:endParaRPr lang="fr-FR" altLang="fr-FR" dirty="0"/>
          </a:p>
        </p:txBody>
      </p:sp>
    </p:spTree>
    <p:extLst>
      <p:ext uri="{BB962C8B-B14F-4D97-AF65-F5344CB8AC3E}">
        <p14:creationId xmlns:p14="http://schemas.microsoft.com/office/powerpoint/2010/main" val="4220372574"/>
      </p:ext>
    </p:extLst>
  </p:cSld>
  <p:clrMapOvr>
    <a:masterClrMapping/>
  </p:clrMapOvr>
  <p:transition>
    <p:randomBar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numéro de diapositive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9AC6DCF1-B941-45D8-B5B0-90F1CF3B2942}" type="slidenum">
              <a:rPr lang="en-GB" altLang="fr-FR"/>
              <a:pPr/>
              <a:t>12</a:t>
            </a:fld>
            <a:endParaRPr lang="en-GB" altLang="fr-FR"/>
          </a:p>
        </p:txBody>
      </p:sp>
      <p:sp>
        <p:nvSpPr>
          <p:cNvPr id="357378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altLang="fr-FR" sz="3200"/>
              <a:t>PARAMETRES INFLUANT LA RETROREFLEXION</a:t>
            </a:r>
            <a:endParaRPr lang="fr-FR" altLang="fr-FR" sz="2400"/>
          </a:p>
        </p:txBody>
      </p:sp>
      <p:sp>
        <p:nvSpPr>
          <p:cNvPr id="35737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fr-FR" altLang="fr-FR" sz="2400"/>
              <a:t>Qualité de la bille : elle doit être la plus sphérique possible, sans défauts internes, avec une granulométrie contrôlée.</a:t>
            </a:r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fr-FR" altLang="fr-FR" sz="2400"/>
              <a:t>Quantité de billes : le nombre de billes augmente la rétroréflexion</a:t>
            </a:r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fr-FR" altLang="fr-FR" sz="2400"/>
              <a:t>Conditions d ’applications </a:t>
            </a:r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fr-FR" altLang="fr-FR" sz="2400"/>
              <a:t>Taux d ’enfoncement des billes</a:t>
            </a:r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fr-FR" altLang="fr-FR" sz="2400"/>
              <a:t>Quantité de dioxyde de titane</a:t>
            </a:r>
          </a:p>
          <a:p>
            <a:pPr>
              <a:buClr>
                <a:srgbClr val="FF0000"/>
              </a:buClr>
            </a:pPr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474065420"/>
      </p:ext>
    </p:extLst>
  </p:cSld>
  <p:clrMapOvr>
    <a:masterClrMapping/>
  </p:clrMapOvr>
  <p:transition>
    <p:randomBar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Espace réservé du numéro de diapositive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F018FEB6-BF67-4E8F-9EAA-E703F258EA66}" type="slidenum">
              <a:rPr lang="en-GB" altLang="fr-FR"/>
              <a:pPr/>
              <a:t>13</a:t>
            </a:fld>
            <a:endParaRPr lang="en-GB" altLang="fr-FR"/>
          </a:p>
        </p:txBody>
      </p:sp>
      <p:grpSp>
        <p:nvGrpSpPr>
          <p:cNvPr id="248834" name="Group 2"/>
          <p:cNvGrpSpPr>
            <a:grpSpLocks/>
          </p:cNvGrpSpPr>
          <p:nvPr/>
        </p:nvGrpSpPr>
        <p:grpSpPr bwMode="auto">
          <a:xfrm>
            <a:off x="1524000" y="152400"/>
            <a:ext cx="9144000" cy="6705600"/>
            <a:chOff x="0" y="96"/>
            <a:chExt cx="5760" cy="4224"/>
          </a:xfrm>
        </p:grpSpPr>
        <p:grpSp>
          <p:nvGrpSpPr>
            <p:cNvPr id="248835" name="Group 3"/>
            <p:cNvGrpSpPr>
              <a:grpSpLocks/>
            </p:cNvGrpSpPr>
            <p:nvPr/>
          </p:nvGrpSpPr>
          <p:grpSpPr bwMode="auto">
            <a:xfrm>
              <a:off x="0" y="96"/>
              <a:ext cx="5760" cy="4224"/>
              <a:chOff x="0" y="96"/>
              <a:chExt cx="5760" cy="4224"/>
            </a:xfrm>
          </p:grpSpPr>
          <p:grpSp>
            <p:nvGrpSpPr>
              <p:cNvPr id="248836" name="Group 4"/>
              <p:cNvGrpSpPr>
                <a:grpSpLocks/>
              </p:cNvGrpSpPr>
              <p:nvPr/>
            </p:nvGrpSpPr>
            <p:grpSpPr bwMode="auto">
              <a:xfrm>
                <a:off x="0" y="96"/>
                <a:ext cx="5760" cy="4224"/>
                <a:chOff x="0" y="96"/>
                <a:chExt cx="5760" cy="4224"/>
              </a:xfrm>
            </p:grpSpPr>
            <p:sp>
              <p:nvSpPr>
                <p:cNvPr id="248837" name="Oval 5"/>
                <p:cNvSpPr>
                  <a:spLocks noChangeArrowheads="1"/>
                </p:cNvSpPr>
                <p:nvPr/>
              </p:nvSpPr>
              <p:spPr bwMode="auto">
                <a:xfrm>
                  <a:off x="864" y="480"/>
                  <a:ext cx="1152" cy="624"/>
                </a:xfrm>
                <a:prstGeom prst="ellips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fr-FR"/>
                </a:p>
              </p:txBody>
            </p:sp>
            <p:grpSp>
              <p:nvGrpSpPr>
                <p:cNvPr id="248838" name="Group 6"/>
                <p:cNvGrpSpPr>
                  <a:grpSpLocks/>
                </p:cNvGrpSpPr>
                <p:nvPr/>
              </p:nvGrpSpPr>
              <p:grpSpPr bwMode="auto">
                <a:xfrm>
                  <a:off x="960" y="1584"/>
                  <a:ext cx="1056" cy="720"/>
                  <a:chOff x="336" y="1728"/>
                  <a:chExt cx="1056" cy="720"/>
                </a:xfrm>
              </p:grpSpPr>
              <p:sp>
                <p:nvSpPr>
                  <p:cNvPr id="248839" name="Oval 7"/>
                  <p:cNvSpPr>
                    <a:spLocks noChangeArrowheads="1"/>
                  </p:cNvSpPr>
                  <p:nvPr/>
                </p:nvSpPr>
                <p:spPr bwMode="auto">
                  <a:xfrm>
                    <a:off x="336" y="1728"/>
                    <a:ext cx="720" cy="720"/>
                  </a:xfrm>
                  <a:prstGeom prst="ellipse">
                    <a:avLst/>
                  </a:prstGeom>
                  <a:noFill/>
                  <a:ln w="9525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fr-FR"/>
                  </a:p>
                </p:txBody>
              </p:sp>
              <p:sp>
                <p:nvSpPr>
                  <p:cNvPr id="248840" name="Oval 8"/>
                  <p:cNvSpPr>
                    <a:spLocks noChangeArrowheads="1"/>
                  </p:cNvSpPr>
                  <p:nvPr/>
                </p:nvSpPr>
                <p:spPr bwMode="auto">
                  <a:xfrm>
                    <a:off x="1008" y="1728"/>
                    <a:ext cx="384" cy="336"/>
                  </a:xfrm>
                  <a:prstGeom prst="ellipse">
                    <a:avLst/>
                  </a:prstGeom>
                  <a:noFill/>
                  <a:ln w="9525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fr-FR"/>
                  </a:p>
                </p:txBody>
              </p:sp>
            </p:grpSp>
            <p:sp>
              <p:nvSpPr>
                <p:cNvPr id="248841" name="Freeform 9"/>
                <p:cNvSpPr>
                  <a:spLocks/>
                </p:cNvSpPr>
                <p:nvPr/>
              </p:nvSpPr>
              <p:spPr bwMode="auto">
                <a:xfrm>
                  <a:off x="1056" y="2976"/>
                  <a:ext cx="726" cy="585"/>
                </a:xfrm>
                <a:custGeom>
                  <a:avLst/>
                  <a:gdLst>
                    <a:gd name="T0" fmla="*/ 243 w 726"/>
                    <a:gd name="T1" fmla="*/ 12 h 585"/>
                    <a:gd name="T2" fmla="*/ 177 w 726"/>
                    <a:gd name="T3" fmla="*/ 36 h 585"/>
                    <a:gd name="T4" fmla="*/ 150 w 726"/>
                    <a:gd name="T5" fmla="*/ 54 h 585"/>
                    <a:gd name="T6" fmla="*/ 123 w 726"/>
                    <a:gd name="T7" fmla="*/ 69 h 585"/>
                    <a:gd name="T8" fmla="*/ 105 w 726"/>
                    <a:gd name="T9" fmla="*/ 81 h 585"/>
                    <a:gd name="T10" fmla="*/ 96 w 726"/>
                    <a:gd name="T11" fmla="*/ 87 h 585"/>
                    <a:gd name="T12" fmla="*/ 75 w 726"/>
                    <a:gd name="T13" fmla="*/ 111 h 585"/>
                    <a:gd name="T14" fmla="*/ 57 w 726"/>
                    <a:gd name="T15" fmla="*/ 129 h 585"/>
                    <a:gd name="T16" fmla="*/ 33 w 726"/>
                    <a:gd name="T17" fmla="*/ 165 h 585"/>
                    <a:gd name="T18" fmla="*/ 18 w 726"/>
                    <a:gd name="T19" fmla="*/ 204 h 585"/>
                    <a:gd name="T20" fmla="*/ 9 w 726"/>
                    <a:gd name="T21" fmla="*/ 234 h 585"/>
                    <a:gd name="T22" fmla="*/ 0 w 726"/>
                    <a:gd name="T23" fmla="*/ 309 h 585"/>
                    <a:gd name="T24" fmla="*/ 30 w 726"/>
                    <a:gd name="T25" fmla="*/ 426 h 585"/>
                    <a:gd name="T26" fmla="*/ 66 w 726"/>
                    <a:gd name="T27" fmla="*/ 480 h 585"/>
                    <a:gd name="T28" fmla="*/ 120 w 726"/>
                    <a:gd name="T29" fmla="*/ 528 h 585"/>
                    <a:gd name="T30" fmla="*/ 147 w 726"/>
                    <a:gd name="T31" fmla="*/ 552 h 585"/>
                    <a:gd name="T32" fmla="*/ 291 w 726"/>
                    <a:gd name="T33" fmla="*/ 585 h 585"/>
                    <a:gd name="T34" fmla="*/ 462 w 726"/>
                    <a:gd name="T35" fmla="*/ 537 h 585"/>
                    <a:gd name="T36" fmla="*/ 510 w 726"/>
                    <a:gd name="T37" fmla="*/ 489 h 585"/>
                    <a:gd name="T38" fmla="*/ 576 w 726"/>
                    <a:gd name="T39" fmla="*/ 363 h 585"/>
                    <a:gd name="T40" fmla="*/ 603 w 726"/>
                    <a:gd name="T41" fmla="*/ 288 h 585"/>
                    <a:gd name="T42" fmla="*/ 711 w 726"/>
                    <a:gd name="T43" fmla="*/ 210 h 585"/>
                    <a:gd name="T44" fmla="*/ 726 w 726"/>
                    <a:gd name="T45" fmla="*/ 183 h 585"/>
                    <a:gd name="T46" fmla="*/ 585 w 726"/>
                    <a:gd name="T47" fmla="*/ 117 h 585"/>
                    <a:gd name="T48" fmla="*/ 513 w 726"/>
                    <a:gd name="T49" fmla="*/ 69 h 585"/>
                    <a:gd name="T50" fmla="*/ 417 w 726"/>
                    <a:gd name="T51" fmla="*/ 30 h 585"/>
                    <a:gd name="T52" fmla="*/ 300 w 726"/>
                    <a:gd name="T53" fmla="*/ 9 h 585"/>
                    <a:gd name="T54" fmla="*/ 267 w 726"/>
                    <a:gd name="T55" fmla="*/ 9 h 585"/>
                    <a:gd name="T56" fmla="*/ 243 w 726"/>
                    <a:gd name="T57" fmla="*/ 6 h 585"/>
                    <a:gd name="T58" fmla="*/ 243 w 726"/>
                    <a:gd name="T59" fmla="*/ 12 h 5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726" h="585">
                      <a:moveTo>
                        <a:pt x="243" y="12"/>
                      </a:moveTo>
                      <a:cubicBezTo>
                        <a:pt x="223" y="25"/>
                        <a:pt x="196" y="23"/>
                        <a:pt x="177" y="36"/>
                      </a:cubicBezTo>
                      <a:cubicBezTo>
                        <a:pt x="172" y="39"/>
                        <a:pt x="157" y="49"/>
                        <a:pt x="150" y="54"/>
                      </a:cubicBezTo>
                      <a:cubicBezTo>
                        <a:pt x="141" y="60"/>
                        <a:pt x="132" y="64"/>
                        <a:pt x="123" y="69"/>
                      </a:cubicBezTo>
                      <a:cubicBezTo>
                        <a:pt x="117" y="73"/>
                        <a:pt x="111" y="77"/>
                        <a:pt x="105" y="81"/>
                      </a:cubicBezTo>
                      <a:cubicBezTo>
                        <a:pt x="102" y="83"/>
                        <a:pt x="96" y="87"/>
                        <a:pt x="96" y="87"/>
                      </a:cubicBezTo>
                      <a:cubicBezTo>
                        <a:pt x="90" y="96"/>
                        <a:pt x="82" y="103"/>
                        <a:pt x="75" y="111"/>
                      </a:cubicBezTo>
                      <a:cubicBezTo>
                        <a:pt x="69" y="117"/>
                        <a:pt x="57" y="129"/>
                        <a:pt x="57" y="129"/>
                      </a:cubicBezTo>
                      <a:cubicBezTo>
                        <a:pt x="52" y="144"/>
                        <a:pt x="44" y="154"/>
                        <a:pt x="33" y="165"/>
                      </a:cubicBezTo>
                      <a:cubicBezTo>
                        <a:pt x="28" y="179"/>
                        <a:pt x="26" y="192"/>
                        <a:pt x="18" y="204"/>
                      </a:cubicBezTo>
                      <a:cubicBezTo>
                        <a:pt x="15" y="214"/>
                        <a:pt x="9" y="234"/>
                        <a:pt x="9" y="234"/>
                      </a:cubicBezTo>
                      <a:cubicBezTo>
                        <a:pt x="5" y="259"/>
                        <a:pt x="0" y="309"/>
                        <a:pt x="0" y="309"/>
                      </a:cubicBezTo>
                      <a:cubicBezTo>
                        <a:pt x="2" y="334"/>
                        <a:pt x="7" y="411"/>
                        <a:pt x="30" y="426"/>
                      </a:cubicBezTo>
                      <a:cubicBezTo>
                        <a:pt x="36" y="443"/>
                        <a:pt x="53" y="467"/>
                        <a:pt x="66" y="480"/>
                      </a:cubicBezTo>
                      <a:cubicBezTo>
                        <a:pt x="74" y="504"/>
                        <a:pt x="100" y="514"/>
                        <a:pt x="120" y="528"/>
                      </a:cubicBezTo>
                      <a:cubicBezTo>
                        <a:pt x="129" y="534"/>
                        <a:pt x="137" y="547"/>
                        <a:pt x="147" y="552"/>
                      </a:cubicBezTo>
                      <a:cubicBezTo>
                        <a:pt x="188" y="575"/>
                        <a:pt x="246" y="582"/>
                        <a:pt x="291" y="585"/>
                      </a:cubicBezTo>
                      <a:cubicBezTo>
                        <a:pt x="352" y="580"/>
                        <a:pt x="411" y="571"/>
                        <a:pt x="462" y="537"/>
                      </a:cubicBezTo>
                      <a:cubicBezTo>
                        <a:pt x="480" y="525"/>
                        <a:pt x="491" y="501"/>
                        <a:pt x="510" y="489"/>
                      </a:cubicBezTo>
                      <a:cubicBezTo>
                        <a:pt x="537" y="449"/>
                        <a:pt x="564" y="411"/>
                        <a:pt x="576" y="363"/>
                      </a:cubicBezTo>
                      <a:cubicBezTo>
                        <a:pt x="582" y="339"/>
                        <a:pt x="581" y="302"/>
                        <a:pt x="603" y="288"/>
                      </a:cubicBezTo>
                      <a:cubicBezTo>
                        <a:pt x="626" y="253"/>
                        <a:pt x="673" y="226"/>
                        <a:pt x="711" y="210"/>
                      </a:cubicBezTo>
                      <a:cubicBezTo>
                        <a:pt x="725" y="189"/>
                        <a:pt x="721" y="199"/>
                        <a:pt x="726" y="183"/>
                      </a:cubicBezTo>
                      <a:cubicBezTo>
                        <a:pt x="684" y="155"/>
                        <a:pt x="636" y="124"/>
                        <a:pt x="585" y="117"/>
                      </a:cubicBezTo>
                      <a:cubicBezTo>
                        <a:pt x="558" y="108"/>
                        <a:pt x="536" y="85"/>
                        <a:pt x="513" y="69"/>
                      </a:cubicBezTo>
                      <a:cubicBezTo>
                        <a:pt x="492" y="55"/>
                        <a:pt x="443" y="36"/>
                        <a:pt x="417" y="30"/>
                      </a:cubicBezTo>
                      <a:cubicBezTo>
                        <a:pt x="380" y="5"/>
                        <a:pt x="343" y="14"/>
                        <a:pt x="300" y="9"/>
                      </a:cubicBezTo>
                      <a:cubicBezTo>
                        <a:pt x="270" y="13"/>
                        <a:pt x="293" y="0"/>
                        <a:pt x="267" y="9"/>
                      </a:cubicBezTo>
                      <a:cubicBezTo>
                        <a:pt x="264" y="10"/>
                        <a:pt x="243" y="6"/>
                        <a:pt x="243" y="6"/>
                      </a:cubicBezTo>
                      <a:cubicBezTo>
                        <a:pt x="236" y="17"/>
                        <a:pt x="234" y="17"/>
                        <a:pt x="243" y="12"/>
                      </a:cubicBezTo>
                      <a:close/>
                    </a:path>
                  </a:pathLst>
                </a:cu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fr-FR"/>
                </a:p>
              </p:txBody>
            </p:sp>
            <p:sp>
              <p:nvSpPr>
                <p:cNvPr id="248842" name="Freeform 10"/>
                <p:cNvSpPr>
                  <a:spLocks/>
                </p:cNvSpPr>
                <p:nvPr/>
              </p:nvSpPr>
              <p:spPr bwMode="auto">
                <a:xfrm>
                  <a:off x="3840" y="384"/>
                  <a:ext cx="975" cy="684"/>
                </a:xfrm>
                <a:custGeom>
                  <a:avLst/>
                  <a:gdLst>
                    <a:gd name="T0" fmla="*/ 327 w 975"/>
                    <a:gd name="T1" fmla="*/ 9 h 684"/>
                    <a:gd name="T2" fmla="*/ 294 w 975"/>
                    <a:gd name="T3" fmla="*/ 21 h 684"/>
                    <a:gd name="T4" fmla="*/ 246 w 975"/>
                    <a:gd name="T5" fmla="*/ 30 h 684"/>
                    <a:gd name="T6" fmla="*/ 201 w 975"/>
                    <a:gd name="T7" fmla="*/ 48 h 684"/>
                    <a:gd name="T8" fmla="*/ 165 w 975"/>
                    <a:gd name="T9" fmla="*/ 66 h 684"/>
                    <a:gd name="T10" fmla="*/ 123 w 975"/>
                    <a:gd name="T11" fmla="*/ 102 h 684"/>
                    <a:gd name="T12" fmla="*/ 105 w 975"/>
                    <a:gd name="T13" fmla="*/ 114 h 684"/>
                    <a:gd name="T14" fmla="*/ 99 w 975"/>
                    <a:gd name="T15" fmla="*/ 123 h 684"/>
                    <a:gd name="T16" fmla="*/ 90 w 975"/>
                    <a:gd name="T17" fmla="*/ 126 h 684"/>
                    <a:gd name="T18" fmla="*/ 87 w 975"/>
                    <a:gd name="T19" fmla="*/ 135 h 684"/>
                    <a:gd name="T20" fmla="*/ 54 w 975"/>
                    <a:gd name="T21" fmla="*/ 177 h 684"/>
                    <a:gd name="T22" fmla="*/ 18 w 975"/>
                    <a:gd name="T23" fmla="*/ 237 h 684"/>
                    <a:gd name="T24" fmla="*/ 9 w 975"/>
                    <a:gd name="T25" fmla="*/ 354 h 684"/>
                    <a:gd name="T26" fmla="*/ 18 w 975"/>
                    <a:gd name="T27" fmla="*/ 435 h 684"/>
                    <a:gd name="T28" fmla="*/ 66 w 975"/>
                    <a:gd name="T29" fmla="*/ 525 h 684"/>
                    <a:gd name="T30" fmla="*/ 87 w 975"/>
                    <a:gd name="T31" fmla="*/ 567 h 684"/>
                    <a:gd name="T32" fmla="*/ 96 w 975"/>
                    <a:gd name="T33" fmla="*/ 573 h 684"/>
                    <a:gd name="T34" fmla="*/ 120 w 975"/>
                    <a:gd name="T35" fmla="*/ 591 h 684"/>
                    <a:gd name="T36" fmla="*/ 180 w 975"/>
                    <a:gd name="T37" fmla="*/ 630 h 684"/>
                    <a:gd name="T38" fmla="*/ 339 w 975"/>
                    <a:gd name="T39" fmla="*/ 684 h 684"/>
                    <a:gd name="T40" fmla="*/ 462 w 975"/>
                    <a:gd name="T41" fmla="*/ 675 h 684"/>
                    <a:gd name="T42" fmla="*/ 522 w 975"/>
                    <a:gd name="T43" fmla="*/ 657 h 684"/>
                    <a:gd name="T44" fmla="*/ 570 w 975"/>
                    <a:gd name="T45" fmla="*/ 633 h 684"/>
                    <a:gd name="T46" fmla="*/ 579 w 975"/>
                    <a:gd name="T47" fmla="*/ 624 h 684"/>
                    <a:gd name="T48" fmla="*/ 585 w 975"/>
                    <a:gd name="T49" fmla="*/ 615 h 684"/>
                    <a:gd name="T50" fmla="*/ 639 w 975"/>
                    <a:gd name="T51" fmla="*/ 552 h 684"/>
                    <a:gd name="T52" fmla="*/ 696 w 975"/>
                    <a:gd name="T53" fmla="*/ 486 h 684"/>
                    <a:gd name="T54" fmla="*/ 708 w 975"/>
                    <a:gd name="T55" fmla="*/ 468 h 684"/>
                    <a:gd name="T56" fmla="*/ 714 w 975"/>
                    <a:gd name="T57" fmla="*/ 459 h 684"/>
                    <a:gd name="T58" fmla="*/ 723 w 975"/>
                    <a:gd name="T59" fmla="*/ 426 h 684"/>
                    <a:gd name="T60" fmla="*/ 726 w 975"/>
                    <a:gd name="T61" fmla="*/ 321 h 684"/>
                    <a:gd name="T62" fmla="*/ 762 w 975"/>
                    <a:gd name="T63" fmla="*/ 336 h 684"/>
                    <a:gd name="T64" fmla="*/ 783 w 975"/>
                    <a:gd name="T65" fmla="*/ 342 h 684"/>
                    <a:gd name="T66" fmla="*/ 885 w 975"/>
                    <a:gd name="T67" fmla="*/ 321 h 684"/>
                    <a:gd name="T68" fmla="*/ 921 w 975"/>
                    <a:gd name="T69" fmla="*/ 294 h 684"/>
                    <a:gd name="T70" fmla="*/ 933 w 975"/>
                    <a:gd name="T71" fmla="*/ 279 h 684"/>
                    <a:gd name="T72" fmla="*/ 969 w 975"/>
                    <a:gd name="T73" fmla="*/ 186 h 684"/>
                    <a:gd name="T74" fmla="*/ 969 w 975"/>
                    <a:gd name="T75" fmla="*/ 135 h 684"/>
                    <a:gd name="T76" fmla="*/ 966 w 975"/>
                    <a:gd name="T77" fmla="*/ 108 h 684"/>
                    <a:gd name="T78" fmla="*/ 927 w 975"/>
                    <a:gd name="T79" fmla="*/ 63 h 684"/>
                    <a:gd name="T80" fmla="*/ 855 w 975"/>
                    <a:gd name="T81" fmla="*/ 18 h 684"/>
                    <a:gd name="T82" fmla="*/ 762 w 975"/>
                    <a:gd name="T83" fmla="*/ 9 h 684"/>
                    <a:gd name="T84" fmla="*/ 729 w 975"/>
                    <a:gd name="T85" fmla="*/ 18 h 684"/>
                    <a:gd name="T86" fmla="*/ 696 w 975"/>
                    <a:gd name="T87" fmla="*/ 36 h 684"/>
                    <a:gd name="T88" fmla="*/ 672 w 975"/>
                    <a:gd name="T89" fmla="*/ 54 h 684"/>
                    <a:gd name="T90" fmla="*/ 636 w 975"/>
                    <a:gd name="T91" fmla="*/ 114 h 684"/>
                    <a:gd name="T92" fmla="*/ 594 w 975"/>
                    <a:gd name="T93" fmla="*/ 81 h 684"/>
                    <a:gd name="T94" fmla="*/ 537 w 975"/>
                    <a:gd name="T95" fmla="*/ 48 h 684"/>
                    <a:gd name="T96" fmla="*/ 459 w 975"/>
                    <a:gd name="T97" fmla="*/ 21 h 684"/>
                    <a:gd name="T98" fmla="*/ 399 w 975"/>
                    <a:gd name="T99" fmla="*/ 3 h 684"/>
                    <a:gd name="T100" fmla="*/ 363 w 975"/>
                    <a:gd name="T101" fmla="*/ 6 h 684"/>
                    <a:gd name="T102" fmla="*/ 327 w 975"/>
                    <a:gd name="T103" fmla="*/ 9 h 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975" h="684">
                      <a:moveTo>
                        <a:pt x="327" y="9"/>
                      </a:moveTo>
                      <a:cubicBezTo>
                        <a:pt x="313" y="12"/>
                        <a:pt x="307" y="16"/>
                        <a:pt x="294" y="21"/>
                      </a:cubicBezTo>
                      <a:cubicBezTo>
                        <a:pt x="281" y="25"/>
                        <a:pt x="261" y="26"/>
                        <a:pt x="246" y="30"/>
                      </a:cubicBezTo>
                      <a:cubicBezTo>
                        <a:pt x="231" y="34"/>
                        <a:pt x="214" y="42"/>
                        <a:pt x="201" y="48"/>
                      </a:cubicBezTo>
                      <a:cubicBezTo>
                        <a:pt x="188" y="52"/>
                        <a:pt x="178" y="62"/>
                        <a:pt x="165" y="66"/>
                      </a:cubicBezTo>
                      <a:cubicBezTo>
                        <a:pt x="144" y="73"/>
                        <a:pt x="138" y="89"/>
                        <a:pt x="123" y="102"/>
                      </a:cubicBezTo>
                      <a:cubicBezTo>
                        <a:pt x="118" y="107"/>
                        <a:pt x="105" y="114"/>
                        <a:pt x="105" y="114"/>
                      </a:cubicBezTo>
                      <a:cubicBezTo>
                        <a:pt x="103" y="117"/>
                        <a:pt x="102" y="121"/>
                        <a:pt x="99" y="123"/>
                      </a:cubicBezTo>
                      <a:cubicBezTo>
                        <a:pt x="97" y="125"/>
                        <a:pt x="92" y="124"/>
                        <a:pt x="90" y="126"/>
                      </a:cubicBezTo>
                      <a:cubicBezTo>
                        <a:pt x="88" y="128"/>
                        <a:pt x="89" y="132"/>
                        <a:pt x="87" y="135"/>
                      </a:cubicBezTo>
                      <a:cubicBezTo>
                        <a:pt x="79" y="147"/>
                        <a:pt x="66" y="169"/>
                        <a:pt x="54" y="177"/>
                      </a:cubicBezTo>
                      <a:cubicBezTo>
                        <a:pt x="42" y="195"/>
                        <a:pt x="36" y="225"/>
                        <a:pt x="18" y="237"/>
                      </a:cubicBezTo>
                      <a:cubicBezTo>
                        <a:pt x="5" y="277"/>
                        <a:pt x="12" y="312"/>
                        <a:pt x="9" y="354"/>
                      </a:cubicBezTo>
                      <a:cubicBezTo>
                        <a:pt x="11" y="385"/>
                        <a:pt x="0" y="411"/>
                        <a:pt x="18" y="435"/>
                      </a:cubicBezTo>
                      <a:cubicBezTo>
                        <a:pt x="28" y="467"/>
                        <a:pt x="40" y="499"/>
                        <a:pt x="66" y="525"/>
                      </a:cubicBezTo>
                      <a:cubicBezTo>
                        <a:pt x="79" y="538"/>
                        <a:pt x="71" y="557"/>
                        <a:pt x="87" y="567"/>
                      </a:cubicBezTo>
                      <a:cubicBezTo>
                        <a:pt x="90" y="569"/>
                        <a:pt x="96" y="573"/>
                        <a:pt x="96" y="573"/>
                      </a:cubicBezTo>
                      <a:cubicBezTo>
                        <a:pt x="103" y="584"/>
                        <a:pt x="109" y="584"/>
                        <a:pt x="120" y="591"/>
                      </a:cubicBezTo>
                      <a:cubicBezTo>
                        <a:pt x="134" y="612"/>
                        <a:pt x="159" y="619"/>
                        <a:pt x="180" y="630"/>
                      </a:cubicBezTo>
                      <a:cubicBezTo>
                        <a:pt x="233" y="656"/>
                        <a:pt x="280" y="678"/>
                        <a:pt x="339" y="684"/>
                      </a:cubicBezTo>
                      <a:cubicBezTo>
                        <a:pt x="380" y="682"/>
                        <a:pt x="421" y="677"/>
                        <a:pt x="462" y="675"/>
                      </a:cubicBezTo>
                      <a:cubicBezTo>
                        <a:pt x="483" y="668"/>
                        <a:pt x="501" y="664"/>
                        <a:pt x="522" y="657"/>
                      </a:cubicBezTo>
                      <a:cubicBezTo>
                        <a:pt x="535" y="653"/>
                        <a:pt x="559" y="642"/>
                        <a:pt x="570" y="633"/>
                      </a:cubicBezTo>
                      <a:cubicBezTo>
                        <a:pt x="573" y="630"/>
                        <a:pt x="576" y="627"/>
                        <a:pt x="579" y="624"/>
                      </a:cubicBezTo>
                      <a:cubicBezTo>
                        <a:pt x="581" y="621"/>
                        <a:pt x="582" y="617"/>
                        <a:pt x="585" y="615"/>
                      </a:cubicBezTo>
                      <a:cubicBezTo>
                        <a:pt x="609" y="594"/>
                        <a:pt x="618" y="577"/>
                        <a:pt x="639" y="552"/>
                      </a:cubicBezTo>
                      <a:cubicBezTo>
                        <a:pt x="658" y="529"/>
                        <a:pt x="686" y="515"/>
                        <a:pt x="696" y="486"/>
                      </a:cubicBezTo>
                      <a:cubicBezTo>
                        <a:pt x="698" y="479"/>
                        <a:pt x="704" y="474"/>
                        <a:pt x="708" y="468"/>
                      </a:cubicBezTo>
                      <a:cubicBezTo>
                        <a:pt x="710" y="465"/>
                        <a:pt x="714" y="459"/>
                        <a:pt x="714" y="459"/>
                      </a:cubicBezTo>
                      <a:cubicBezTo>
                        <a:pt x="716" y="448"/>
                        <a:pt x="723" y="426"/>
                        <a:pt x="723" y="426"/>
                      </a:cubicBezTo>
                      <a:cubicBezTo>
                        <a:pt x="725" y="398"/>
                        <a:pt x="719" y="348"/>
                        <a:pt x="726" y="321"/>
                      </a:cubicBezTo>
                      <a:cubicBezTo>
                        <a:pt x="739" y="325"/>
                        <a:pt x="749" y="332"/>
                        <a:pt x="762" y="336"/>
                      </a:cubicBezTo>
                      <a:cubicBezTo>
                        <a:pt x="765" y="337"/>
                        <a:pt x="783" y="342"/>
                        <a:pt x="783" y="342"/>
                      </a:cubicBezTo>
                      <a:cubicBezTo>
                        <a:pt x="822" y="338"/>
                        <a:pt x="852" y="343"/>
                        <a:pt x="885" y="321"/>
                      </a:cubicBezTo>
                      <a:cubicBezTo>
                        <a:pt x="898" y="313"/>
                        <a:pt x="908" y="303"/>
                        <a:pt x="921" y="294"/>
                      </a:cubicBezTo>
                      <a:cubicBezTo>
                        <a:pt x="924" y="292"/>
                        <a:pt x="933" y="279"/>
                        <a:pt x="933" y="279"/>
                      </a:cubicBezTo>
                      <a:cubicBezTo>
                        <a:pt x="954" y="248"/>
                        <a:pt x="960" y="222"/>
                        <a:pt x="969" y="186"/>
                      </a:cubicBezTo>
                      <a:cubicBezTo>
                        <a:pt x="975" y="162"/>
                        <a:pt x="971" y="147"/>
                        <a:pt x="969" y="135"/>
                      </a:cubicBezTo>
                      <a:cubicBezTo>
                        <a:pt x="968" y="122"/>
                        <a:pt x="973" y="120"/>
                        <a:pt x="966" y="108"/>
                      </a:cubicBezTo>
                      <a:cubicBezTo>
                        <a:pt x="961" y="92"/>
                        <a:pt x="941" y="72"/>
                        <a:pt x="927" y="63"/>
                      </a:cubicBezTo>
                      <a:cubicBezTo>
                        <a:pt x="911" y="38"/>
                        <a:pt x="881" y="35"/>
                        <a:pt x="855" y="18"/>
                      </a:cubicBezTo>
                      <a:cubicBezTo>
                        <a:pt x="817" y="19"/>
                        <a:pt x="800" y="7"/>
                        <a:pt x="762" y="9"/>
                      </a:cubicBezTo>
                      <a:cubicBezTo>
                        <a:pt x="768" y="15"/>
                        <a:pt x="729" y="18"/>
                        <a:pt x="729" y="18"/>
                      </a:cubicBezTo>
                      <a:cubicBezTo>
                        <a:pt x="719" y="33"/>
                        <a:pt x="717" y="22"/>
                        <a:pt x="696" y="36"/>
                      </a:cubicBezTo>
                      <a:cubicBezTo>
                        <a:pt x="689" y="41"/>
                        <a:pt x="672" y="54"/>
                        <a:pt x="672" y="54"/>
                      </a:cubicBezTo>
                      <a:cubicBezTo>
                        <a:pt x="667" y="70"/>
                        <a:pt x="650" y="105"/>
                        <a:pt x="636" y="114"/>
                      </a:cubicBezTo>
                      <a:cubicBezTo>
                        <a:pt x="624" y="102"/>
                        <a:pt x="610" y="86"/>
                        <a:pt x="594" y="81"/>
                      </a:cubicBezTo>
                      <a:cubicBezTo>
                        <a:pt x="580" y="60"/>
                        <a:pt x="556" y="61"/>
                        <a:pt x="537" y="48"/>
                      </a:cubicBezTo>
                      <a:cubicBezTo>
                        <a:pt x="512" y="31"/>
                        <a:pt x="487" y="29"/>
                        <a:pt x="459" y="21"/>
                      </a:cubicBezTo>
                      <a:cubicBezTo>
                        <a:pt x="438" y="15"/>
                        <a:pt x="421" y="6"/>
                        <a:pt x="399" y="3"/>
                      </a:cubicBezTo>
                      <a:cubicBezTo>
                        <a:pt x="383" y="0"/>
                        <a:pt x="375" y="5"/>
                        <a:pt x="363" y="6"/>
                      </a:cubicBezTo>
                      <a:cubicBezTo>
                        <a:pt x="351" y="7"/>
                        <a:pt x="334" y="9"/>
                        <a:pt x="327" y="9"/>
                      </a:cubicBezTo>
                      <a:close/>
                    </a:path>
                  </a:pathLst>
                </a:cu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fr-FR"/>
                </a:p>
              </p:txBody>
            </p:sp>
            <p:sp>
              <p:nvSpPr>
                <p:cNvPr id="248843" name="Freeform 11"/>
                <p:cNvSpPr>
                  <a:spLocks/>
                </p:cNvSpPr>
                <p:nvPr/>
              </p:nvSpPr>
              <p:spPr bwMode="auto">
                <a:xfrm>
                  <a:off x="3888" y="1632"/>
                  <a:ext cx="828" cy="636"/>
                </a:xfrm>
                <a:custGeom>
                  <a:avLst/>
                  <a:gdLst>
                    <a:gd name="T0" fmla="*/ 132 w 633"/>
                    <a:gd name="T1" fmla="*/ 36 h 437"/>
                    <a:gd name="T2" fmla="*/ 48 w 633"/>
                    <a:gd name="T3" fmla="*/ 120 h 437"/>
                    <a:gd name="T4" fmla="*/ 84 w 633"/>
                    <a:gd name="T5" fmla="*/ 144 h 437"/>
                    <a:gd name="T6" fmla="*/ 0 w 633"/>
                    <a:gd name="T7" fmla="*/ 264 h 437"/>
                    <a:gd name="T8" fmla="*/ 12 w 633"/>
                    <a:gd name="T9" fmla="*/ 300 h 437"/>
                    <a:gd name="T10" fmla="*/ 84 w 633"/>
                    <a:gd name="T11" fmla="*/ 312 h 437"/>
                    <a:gd name="T12" fmla="*/ 120 w 633"/>
                    <a:gd name="T13" fmla="*/ 336 h 437"/>
                    <a:gd name="T14" fmla="*/ 240 w 633"/>
                    <a:gd name="T15" fmla="*/ 432 h 437"/>
                    <a:gd name="T16" fmla="*/ 360 w 633"/>
                    <a:gd name="T17" fmla="*/ 408 h 437"/>
                    <a:gd name="T18" fmla="*/ 372 w 633"/>
                    <a:gd name="T19" fmla="*/ 372 h 437"/>
                    <a:gd name="T20" fmla="*/ 408 w 633"/>
                    <a:gd name="T21" fmla="*/ 300 h 437"/>
                    <a:gd name="T22" fmla="*/ 420 w 633"/>
                    <a:gd name="T23" fmla="*/ 252 h 437"/>
                    <a:gd name="T24" fmla="*/ 456 w 633"/>
                    <a:gd name="T25" fmla="*/ 240 h 437"/>
                    <a:gd name="T26" fmla="*/ 612 w 633"/>
                    <a:gd name="T27" fmla="*/ 204 h 437"/>
                    <a:gd name="T28" fmla="*/ 624 w 633"/>
                    <a:gd name="T29" fmla="*/ 168 h 437"/>
                    <a:gd name="T30" fmla="*/ 552 w 633"/>
                    <a:gd name="T31" fmla="*/ 144 h 437"/>
                    <a:gd name="T32" fmla="*/ 480 w 633"/>
                    <a:gd name="T33" fmla="*/ 96 h 437"/>
                    <a:gd name="T34" fmla="*/ 348 w 633"/>
                    <a:gd name="T35" fmla="*/ 60 h 437"/>
                    <a:gd name="T36" fmla="*/ 312 w 633"/>
                    <a:gd name="T37" fmla="*/ 36 h 437"/>
                    <a:gd name="T38" fmla="*/ 204 w 633"/>
                    <a:gd name="T39" fmla="*/ 0 h 437"/>
                    <a:gd name="T40" fmla="*/ 132 w 633"/>
                    <a:gd name="T41" fmla="*/ 36 h 4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633" h="437">
                      <a:moveTo>
                        <a:pt x="132" y="36"/>
                      </a:moveTo>
                      <a:cubicBezTo>
                        <a:pt x="83" y="52"/>
                        <a:pt x="64" y="71"/>
                        <a:pt x="48" y="120"/>
                      </a:cubicBezTo>
                      <a:cubicBezTo>
                        <a:pt x="60" y="128"/>
                        <a:pt x="80" y="130"/>
                        <a:pt x="84" y="144"/>
                      </a:cubicBezTo>
                      <a:cubicBezTo>
                        <a:pt x="101" y="203"/>
                        <a:pt x="32" y="232"/>
                        <a:pt x="0" y="264"/>
                      </a:cubicBezTo>
                      <a:cubicBezTo>
                        <a:pt x="4" y="276"/>
                        <a:pt x="1" y="294"/>
                        <a:pt x="12" y="300"/>
                      </a:cubicBezTo>
                      <a:cubicBezTo>
                        <a:pt x="33" y="312"/>
                        <a:pt x="61" y="304"/>
                        <a:pt x="84" y="312"/>
                      </a:cubicBezTo>
                      <a:cubicBezTo>
                        <a:pt x="98" y="317"/>
                        <a:pt x="108" y="328"/>
                        <a:pt x="120" y="336"/>
                      </a:cubicBezTo>
                      <a:cubicBezTo>
                        <a:pt x="141" y="399"/>
                        <a:pt x="184" y="413"/>
                        <a:pt x="240" y="432"/>
                      </a:cubicBezTo>
                      <a:cubicBezTo>
                        <a:pt x="280" y="426"/>
                        <a:pt x="331" y="437"/>
                        <a:pt x="360" y="408"/>
                      </a:cubicBezTo>
                      <a:cubicBezTo>
                        <a:pt x="369" y="399"/>
                        <a:pt x="366" y="383"/>
                        <a:pt x="372" y="372"/>
                      </a:cubicBezTo>
                      <a:cubicBezTo>
                        <a:pt x="407" y="302"/>
                        <a:pt x="388" y="370"/>
                        <a:pt x="408" y="300"/>
                      </a:cubicBezTo>
                      <a:cubicBezTo>
                        <a:pt x="413" y="284"/>
                        <a:pt x="410" y="265"/>
                        <a:pt x="420" y="252"/>
                      </a:cubicBezTo>
                      <a:cubicBezTo>
                        <a:pt x="428" y="242"/>
                        <a:pt x="444" y="243"/>
                        <a:pt x="456" y="240"/>
                      </a:cubicBezTo>
                      <a:cubicBezTo>
                        <a:pt x="508" y="225"/>
                        <a:pt x="561" y="221"/>
                        <a:pt x="612" y="204"/>
                      </a:cubicBezTo>
                      <a:cubicBezTo>
                        <a:pt x="616" y="192"/>
                        <a:pt x="633" y="177"/>
                        <a:pt x="624" y="168"/>
                      </a:cubicBezTo>
                      <a:cubicBezTo>
                        <a:pt x="606" y="150"/>
                        <a:pt x="576" y="152"/>
                        <a:pt x="552" y="144"/>
                      </a:cubicBezTo>
                      <a:cubicBezTo>
                        <a:pt x="525" y="135"/>
                        <a:pt x="507" y="105"/>
                        <a:pt x="480" y="96"/>
                      </a:cubicBezTo>
                      <a:cubicBezTo>
                        <a:pt x="437" y="82"/>
                        <a:pt x="389" y="80"/>
                        <a:pt x="348" y="60"/>
                      </a:cubicBezTo>
                      <a:cubicBezTo>
                        <a:pt x="335" y="54"/>
                        <a:pt x="325" y="42"/>
                        <a:pt x="312" y="36"/>
                      </a:cubicBezTo>
                      <a:cubicBezTo>
                        <a:pt x="277" y="21"/>
                        <a:pt x="204" y="0"/>
                        <a:pt x="204" y="0"/>
                      </a:cubicBezTo>
                      <a:cubicBezTo>
                        <a:pt x="157" y="31"/>
                        <a:pt x="182" y="19"/>
                        <a:pt x="132" y="36"/>
                      </a:cubicBezTo>
                      <a:close/>
                    </a:path>
                  </a:pathLst>
                </a:cu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fr-FR"/>
                </a:p>
              </p:txBody>
            </p:sp>
            <p:sp>
              <p:nvSpPr>
                <p:cNvPr id="248844" name="Oval 12"/>
                <p:cNvSpPr>
                  <a:spLocks noChangeArrowheads="1"/>
                </p:cNvSpPr>
                <p:nvPr/>
              </p:nvSpPr>
              <p:spPr bwMode="auto">
                <a:xfrm>
                  <a:off x="3840" y="2928"/>
                  <a:ext cx="768" cy="720"/>
                </a:xfrm>
                <a:prstGeom prst="ellipse">
                  <a:avLst/>
                </a:prstGeom>
                <a:solidFill>
                  <a:srgbClr val="EAEAEA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fr-FR"/>
                </a:p>
              </p:txBody>
            </p:sp>
            <p:sp>
              <p:nvSpPr>
                <p:cNvPr id="248845" name="Text Box 13"/>
                <p:cNvSpPr txBox="1">
                  <a:spLocks noChangeArrowheads="1"/>
                </p:cNvSpPr>
                <p:nvPr/>
              </p:nvSpPr>
              <p:spPr bwMode="auto">
                <a:xfrm>
                  <a:off x="528" y="1152"/>
                  <a:ext cx="1728" cy="34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>
                  <a:spAutoFit/>
                </a:bodyPr>
                <a:lstStyle/>
                <a:p>
                  <a:pPr algn="ctr" eaLnBrk="0" hangingPunct="0">
                    <a:spcBef>
                      <a:spcPct val="50000"/>
                    </a:spcBef>
                  </a:pPr>
                  <a:r>
                    <a:rPr lang="fr-FR" altLang="fr-FR" sz="1200">
                      <a:latin typeface="Cooper Md BT" pitchFamily="18" charset="0"/>
                    </a:rPr>
                    <a:t>Microbille allongée, considérée </a:t>
                  </a:r>
                </a:p>
                <a:p>
                  <a:pPr algn="ctr" eaLnBrk="0" hangingPunct="0">
                    <a:spcBef>
                      <a:spcPct val="50000"/>
                    </a:spcBef>
                  </a:pPr>
                  <a:r>
                    <a:rPr lang="fr-FR" altLang="fr-FR" sz="1200">
                      <a:latin typeface="Cooper Md BT" pitchFamily="18" charset="0"/>
                    </a:rPr>
                    <a:t>comme défaut si  D / d &gt;1.2</a:t>
                  </a:r>
                  <a:endParaRPr lang="en-GB" altLang="fr-FR" sz="1200">
                    <a:latin typeface="Cooper Md BT" pitchFamily="18" charset="0"/>
                  </a:endParaRPr>
                </a:p>
              </p:txBody>
            </p:sp>
            <p:sp>
              <p:nvSpPr>
                <p:cNvPr id="248846" name="Text Box 14"/>
                <p:cNvSpPr txBox="1">
                  <a:spLocks noChangeArrowheads="1"/>
                </p:cNvSpPr>
                <p:nvPr/>
              </p:nvSpPr>
              <p:spPr bwMode="auto">
                <a:xfrm>
                  <a:off x="432" y="2352"/>
                  <a:ext cx="2160" cy="519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>
                  <a:spAutoFit/>
                </a:bodyPr>
                <a:lstStyle/>
                <a:p>
                  <a:pPr algn="ctr" eaLnBrk="0" hangingPunct="0">
                    <a:spcBef>
                      <a:spcPct val="50000"/>
                    </a:spcBef>
                  </a:pPr>
                  <a:r>
                    <a:rPr lang="fr-FR" altLang="fr-FR" sz="1200">
                      <a:latin typeface="Cooper Md BT" pitchFamily="18" charset="0"/>
                    </a:rPr>
                    <a:t>Microbille supportant un ou deux satellites,</a:t>
                  </a:r>
                </a:p>
                <a:p>
                  <a:pPr algn="ctr" eaLnBrk="0" hangingPunct="0">
                    <a:spcBef>
                      <a:spcPct val="50000"/>
                    </a:spcBef>
                  </a:pPr>
                  <a:r>
                    <a:rPr lang="fr-FR" altLang="fr-FR" sz="1200">
                      <a:latin typeface="Cooper Md BT" pitchFamily="18" charset="0"/>
                    </a:rPr>
                    <a:t>considérée comme défaut si d / D&lt;1/4</a:t>
                  </a:r>
                </a:p>
                <a:p>
                  <a:pPr algn="ctr" eaLnBrk="0" hangingPunct="0">
                    <a:spcBef>
                      <a:spcPct val="50000"/>
                    </a:spcBef>
                  </a:pPr>
                  <a:r>
                    <a:rPr lang="fr-FR" altLang="fr-FR" sz="1200">
                      <a:latin typeface="Cooper Md BT" pitchFamily="18" charset="0"/>
                    </a:rPr>
                    <a:t>(d=diamètre du plus gros satellite)</a:t>
                  </a:r>
                  <a:endParaRPr lang="en-GB" altLang="fr-FR" sz="1200">
                    <a:latin typeface="Cooper Md BT" pitchFamily="18" charset="0"/>
                  </a:endParaRPr>
                </a:p>
              </p:txBody>
            </p:sp>
            <p:sp>
              <p:nvSpPr>
                <p:cNvPr id="248847" name="Text Box 15"/>
                <p:cNvSpPr txBox="1">
                  <a:spLocks noChangeArrowheads="1"/>
                </p:cNvSpPr>
                <p:nvPr/>
              </p:nvSpPr>
              <p:spPr bwMode="auto">
                <a:xfrm>
                  <a:off x="432" y="3600"/>
                  <a:ext cx="2016" cy="34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>
                  <a:spAutoFit/>
                </a:bodyPr>
                <a:lstStyle/>
                <a:p>
                  <a:pPr algn="ctr" eaLnBrk="0" hangingPunct="0">
                    <a:spcBef>
                      <a:spcPct val="50000"/>
                    </a:spcBef>
                  </a:pPr>
                  <a:r>
                    <a:rPr lang="fr-FR" altLang="fr-FR" sz="1200">
                      <a:latin typeface="Cooper Md BT" pitchFamily="18" charset="0"/>
                    </a:rPr>
                    <a:t>Microbille en forme de goutte, </a:t>
                  </a:r>
                </a:p>
                <a:p>
                  <a:pPr algn="ctr" eaLnBrk="0" hangingPunct="0">
                    <a:spcBef>
                      <a:spcPct val="50000"/>
                    </a:spcBef>
                  </a:pPr>
                  <a:r>
                    <a:rPr lang="fr-FR" altLang="fr-FR" sz="1200">
                      <a:latin typeface="Cooper Md BT" pitchFamily="18" charset="0"/>
                    </a:rPr>
                    <a:t>considérée comme bille défaut si L/l&gt;1.2</a:t>
                  </a:r>
                  <a:endParaRPr lang="fr-FR" altLang="fr-FR" sz="1000">
                    <a:latin typeface="Times New Roman" panose="02020603050405020304" pitchFamily="18" charset="0"/>
                  </a:endParaRPr>
                </a:p>
              </p:txBody>
            </p:sp>
            <p:sp>
              <p:nvSpPr>
                <p:cNvPr id="248848" name="Line 16"/>
                <p:cNvSpPr>
                  <a:spLocks noChangeShapeType="1"/>
                </p:cNvSpPr>
                <p:nvPr/>
              </p:nvSpPr>
              <p:spPr bwMode="auto">
                <a:xfrm>
                  <a:off x="2928" y="672"/>
                  <a:ext cx="0" cy="3648"/>
                </a:xfrm>
                <a:prstGeom prst="line">
                  <a:avLst/>
                </a:prstGeom>
                <a:noFill/>
                <a:ln w="3175">
                  <a:solidFill>
                    <a:schemeClr val="bg2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fr-FR"/>
                </a:p>
              </p:txBody>
            </p:sp>
            <p:sp>
              <p:nvSpPr>
                <p:cNvPr id="248849" name="Line 17"/>
                <p:cNvSpPr>
                  <a:spLocks noChangeShapeType="1"/>
                </p:cNvSpPr>
                <p:nvPr/>
              </p:nvSpPr>
              <p:spPr bwMode="auto">
                <a:xfrm>
                  <a:off x="0" y="2880"/>
                  <a:ext cx="5760" cy="0"/>
                </a:xfrm>
                <a:prstGeom prst="line">
                  <a:avLst/>
                </a:prstGeom>
                <a:noFill/>
                <a:ln w="3175">
                  <a:solidFill>
                    <a:schemeClr val="bg2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fr-FR"/>
                </a:p>
              </p:txBody>
            </p:sp>
            <p:sp>
              <p:nvSpPr>
                <p:cNvPr id="248850" name="Line 18"/>
                <p:cNvSpPr>
                  <a:spLocks noChangeShapeType="1"/>
                </p:cNvSpPr>
                <p:nvPr/>
              </p:nvSpPr>
              <p:spPr bwMode="auto">
                <a:xfrm>
                  <a:off x="0" y="1536"/>
                  <a:ext cx="5760" cy="0"/>
                </a:xfrm>
                <a:prstGeom prst="line">
                  <a:avLst/>
                </a:prstGeom>
                <a:noFill/>
                <a:ln w="3175">
                  <a:solidFill>
                    <a:schemeClr val="bg2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fr-FR"/>
                </a:p>
              </p:txBody>
            </p:sp>
            <p:sp>
              <p:nvSpPr>
                <p:cNvPr id="248851" name="Text Box 19"/>
                <p:cNvSpPr txBox="1">
                  <a:spLocks noChangeArrowheads="1"/>
                </p:cNvSpPr>
                <p:nvPr/>
              </p:nvSpPr>
              <p:spPr bwMode="auto">
                <a:xfrm>
                  <a:off x="2976" y="1152"/>
                  <a:ext cx="2640" cy="34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>
                  <a:spAutoFit/>
                </a:bodyPr>
                <a:lstStyle/>
                <a:p>
                  <a:pPr algn="ctr" eaLnBrk="0" hangingPunct="0">
                    <a:spcBef>
                      <a:spcPct val="50000"/>
                    </a:spcBef>
                  </a:pPr>
                  <a:r>
                    <a:rPr lang="fr-FR" altLang="fr-FR" sz="1200">
                      <a:latin typeface="Cooper Md BT" pitchFamily="18" charset="0"/>
                    </a:rPr>
                    <a:t>Microbille supportant un satellite complètement soudé,</a:t>
                  </a:r>
                </a:p>
                <a:p>
                  <a:pPr algn="ctr" eaLnBrk="0" hangingPunct="0">
                    <a:spcBef>
                      <a:spcPct val="50000"/>
                    </a:spcBef>
                  </a:pPr>
                  <a:r>
                    <a:rPr lang="fr-FR" altLang="fr-FR" sz="1200">
                      <a:latin typeface="Cooper Md BT" pitchFamily="18" charset="0"/>
                    </a:rPr>
                    <a:t>considérée comme défaut si D2/D1&gt;1.2</a:t>
                  </a:r>
                </a:p>
              </p:txBody>
            </p:sp>
            <p:sp>
              <p:nvSpPr>
                <p:cNvPr id="248852" name="Text Box 20"/>
                <p:cNvSpPr txBox="1">
                  <a:spLocks noChangeArrowheads="1"/>
                </p:cNvSpPr>
                <p:nvPr/>
              </p:nvSpPr>
              <p:spPr bwMode="auto">
                <a:xfrm>
                  <a:off x="3408" y="2400"/>
                  <a:ext cx="1680" cy="17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>
                  <a:spAutoFit/>
                </a:bodyPr>
                <a:lstStyle/>
                <a:p>
                  <a:pPr algn="ctr" eaLnBrk="0" hangingPunct="0">
                    <a:spcBef>
                      <a:spcPct val="50000"/>
                    </a:spcBef>
                  </a:pPr>
                  <a:r>
                    <a:rPr lang="en-GB" altLang="fr-FR" sz="1200">
                      <a:latin typeface="Cooper Md BT" pitchFamily="18" charset="0"/>
                    </a:rPr>
                    <a:t>Grains</a:t>
                  </a:r>
                </a:p>
              </p:txBody>
            </p:sp>
            <p:sp>
              <p:nvSpPr>
                <p:cNvPr id="248853" name="Text Box 21"/>
                <p:cNvSpPr txBox="1">
                  <a:spLocks noChangeArrowheads="1"/>
                </p:cNvSpPr>
                <p:nvPr/>
              </p:nvSpPr>
              <p:spPr bwMode="auto">
                <a:xfrm>
                  <a:off x="3360" y="3744"/>
                  <a:ext cx="1920" cy="17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>
                  <a:spAutoFit/>
                </a:bodyPr>
                <a:lstStyle/>
                <a:p>
                  <a:pPr algn="ctr" eaLnBrk="0" hangingPunct="0">
                    <a:spcBef>
                      <a:spcPct val="50000"/>
                    </a:spcBef>
                  </a:pPr>
                  <a:r>
                    <a:rPr lang="fr-FR" altLang="fr-FR" sz="1200">
                      <a:latin typeface="Cooper Md BT" pitchFamily="18" charset="0"/>
                    </a:rPr>
                    <a:t>Microbille opaque</a:t>
                  </a:r>
                </a:p>
              </p:txBody>
            </p:sp>
            <p:sp>
              <p:nvSpPr>
                <p:cNvPr id="248854" name="Text Box 22"/>
                <p:cNvSpPr txBox="1">
                  <a:spLocks noChangeArrowheads="1"/>
                </p:cNvSpPr>
                <p:nvPr/>
              </p:nvSpPr>
              <p:spPr bwMode="auto">
                <a:xfrm>
                  <a:off x="0" y="96"/>
                  <a:ext cx="5760" cy="23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>
                  <a:spAutoFit/>
                </a:bodyPr>
                <a:lstStyle/>
                <a:p>
                  <a:pPr eaLnBrk="0" hangingPunct="0">
                    <a:spcBef>
                      <a:spcPct val="50000"/>
                    </a:spcBef>
                  </a:pPr>
                  <a:r>
                    <a:rPr lang="en-GB" altLang="fr-FR" dirty="0">
                      <a:solidFill>
                        <a:schemeClr val="accent2"/>
                      </a:solidFill>
                      <a:latin typeface="Cooper Md BT" pitchFamily="18" charset="0"/>
                    </a:rPr>
                    <a:t>                QUALITE DE LA BILLE : SPHERICITE</a:t>
                  </a:r>
                </a:p>
              </p:txBody>
            </p:sp>
          </p:grpSp>
          <p:sp>
            <p:nvSpPr>
              <p:cNvPr id="248855" name="Line 23"/>
              <p:cNvSpPr>
                <a:spLocks noChangeShapeType="1"/>
              </p:cNvSpPr>
              <p:nvPr/>
            </p:nvSpPr>
            <p:spPr bwMode="auto">
              <a:xfrm>
                <a:off x="864" y="768"/>
                <a:ext cx="1152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 type="arrow" w="med" len="med"/>
                <a:tailEnd type="arrow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/>
              </a:p>
            </p:txBody>
          </p:sp>
          <p:sp>
            <p:nvSpPr>
              <p:cNvPr id="248856" name="Text Box 24"/>
              <p:cNvSpPr txBox="1">
                <a:spLocks noChangeArrowheads="1"/>
              </p:cNvSpPr>
              <p:nvPr/>
            </p:nvSpPr>
            <p:spPr bwMode="auto">
              <a:xfrm>
                <a:off x="2064" y="672"/>
                <a:ext cx="240" cy="21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eaLnBrk="0" hangingPunct="0">
                  <a:spcBef>
                    <a:spcPct val="50000"/>
                  </a:spcBef>
                </a:pPr>
                <a:r>
                  <a:rPr lang="en-GB" altLang="fr-FR" sz="1600">
                    <a:latin typeface="Cooper Md BT" pitchFamily="18" charset="0"/>
                  </a:rPr>
                  <a:t>D</a:t>
                </a:r>
              </a:p>
            </p:txBody>
          </p:sp>
          <p:sp>
            <p:nvSpPr>
              <p:cNvPr id="248857" name="Line 25"/>
              <p:cNvSpPr>
                <a:spLocks noChangeShapeType="1"/>
              </p:cNvSpPr>
              <p:nvPr/>
            </p:nvSpPr>
            <p:spPr bwMode="auto">
              <a:xfrm>
                <a:off x="1440" y="480"/>
                <a:ext cx="0" cy="624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 type="arrow" w="med" len="med"/>
                <a:tailEnd type="arrow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/>
              </a:p>
            </p:txBody>
          </p:sp>
          <p:sp>
            <p:nvSpPr>
              <p:cNvPr id="248858" name="Text Box 26"/>
              <p:cNvSpPr txBox="1">
                <a:spLocks noChangeArrowheads="1"/>
              </p:cNvSpPr>
              <p:nvPr/>
            </p:nvSpPr>
            <p:spPr bwMode="auto">
              <a:xfrm>
                <a:off x="1344" y="288"/>
                <a:ext cx="192" cy="21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eaLnBrk="0" hangingPunct="0">
                  <a:spcBef>
                    <a:spcPct val="50000"/>
                  </a:spcBef>
                </a:pPr>
                <a:r>
                  <a:rPr lang="en-GB" altLang="fr-FR" sz="1600">
                    <a:latin typeface="Cooper Md BT" pitchFamily="18" charset="0"/>
                  </a:rPr>
                  <a:t>d</a:t>
                </a:r>
              </a:p>
            </p:txBody>
          </p:sp>
          <p:sp>
            <p:nvSpPr>
              <p:cNvPr id="248859" name="Line 27"/>
              <p:cNvSpPr>
                <a:spLocks noChangeShapeType="1"/>
              </p:cNvSpPr>
              <p:nvPr/>
            </p:nvSpPr>
            <p:spPr bwMode="auto">
              <a:xfrm flipV="1">
                <a:off x="3888" y="480"/>
                <a:ext cx="912" cy="384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 type="arrow" w="med" len="med"/>
                <a:tailEnd type="arrow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/>
              </a:p>
            </p:txBody>
          </p:sp>
          <p:sp>
            <p:nvSpPr>
              <p:cNvPr id="248860" name="Text Box 28"/>
              <p:cNvSpPr txBox="1">
                <a:spLocks noChangeArrowheads="1"/>
              </p:cNvSpPr>
              <p:nvPr/>
            </p:nvSpPr>
            <p:spPr bwMode="auto">
              <a:xfrm>
                <a:off x="4896" y="336"/>
                <a:ext cx="336" cy="21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eaLnBrk="0" hangingPunct="0">
                  <a:spcBef>
                    <a:spcPct val="50000"/>
                  </a:spcBef>
                </a:pPr>
                <a:r>
                  <a:rPr lang="en-GB" altLang="fr-FR" sz="1600">
                    <a:latin typeface="Cooper Md BT" pitchFamily="18" charset="0"/>
                  </a:rPr>
                  <a:t>D2</a:t>
                </a:r>
              </a:p>
            </p:txBody>
          </p:sp>
          <p:sp>
            <p:nvSpPr>
              <p:cNvPr id="248861" name="Line 29"/>
              <p:cNvSpPr>
                <a:spLocks noChangeShapeType="1"/>
              </p:cNvSpPr>
              <p:nvPr/>
            </p:nvSpPr>
            <p:spPr bwMode="auto">
              <a:xfrm>
                <a:off x="4224" y="384"/>
                <a:ext cx="0" cy="72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 type="arrow" w="med" len="med"/>
                <a:tailEnd type="arrow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/>
              </a:p>
            </p:txBody>
          </p:sp>
          <p:sp>
            <p:nvSpPr>
              <p:cNvPr id="248862" name="Text Box 30"/>
              <p:cNvSpPr txBox="1">
                <a:spLocks noChangeArrowheads="1"/>
              </p:cNvSpPr>
              <p:nvPr/>
            </p:nvSpPr>
            <p:spPr bwMode="auto">
              <a:xfrm>
                <a:off x="4080" y="144"/>
                <a:ext cx="336" cy="21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eaLnBrk="0" hangingPunct="0">
                  <a:spcBef>
                    <a:spcPct val="50000"/>
                  </a:spcBef>
                </a:pPr>
                <a:r>
                  <a:rPr lang="en-GB" altLang="fr-FR" sz="1600">
                    <a:latin typeface="Cooper Md BT" pitchFamily="18" charset="0"/>
                  </a:rPr>
                  <a:t>D1</a:t>
                </a:r>
              </a:p>
            </p:txBody>
          </p:sp>
          <p:sp>
            <p:nvSpPr>
              <p:cNvPr id="248863" name="Freeform 31"/>
              <p:cNvSpPr>
                <a:spLocks/>
              </p:cNvSpPr>
              <p:nvPr/>
            </p:nvSpPr>
            <p:spPr bwMode="auto">
              <a:xfrm>
                <a:off x="1068" y="1716"/>
                <a:ext cx="516" cy="492"/>
              </a:xfrm>
              <a:custGeom>
                <a:avLst/>
                <a:gdLst>
                  <a:gd name="T0" fmla="*/ 0 w 516"/>
                  <a:gd name="T1" fmla="*/ 0 h 492"/>
                  <a:gd name="T2" fmla="*/ 516 w 516"/>
                  <a:gd name="T3" fmla="*/ 492 h 4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516" h="492">
                    <a:moveTo>
                      <a:pt x="0" y="0"/>
                    </a:moveTo>
                    <a:lnTo>
                      <a:pt x="516" y="492"/>
                    </a:lnTo>
                  </a:path>
                </a:pathLst>
              </a:custGeom>
              <a:noFill/>
              <a:ln w="9525">
                <a:solidFill>
                  <a:schemeClr val="accent2"/>
                </a:solidFill>
                <a:round/>
                <a:headEnd type="arrow" w="med" len="med"/>
                <a:tailEnd type="arrow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/>
              </a:p>
            </p:txBody>
          </p:sp>
          <p:sp>
            <p:nvSpPr>
              <p:cNvPr id="248864" name="Text Box 32"/>
              <p:cNvSpPr txBox="1">
                <a:spLocks noChangeArrowheads="1"/>
              </p:cNvSpPr>
              <p:nvPr/>
            </p:nvSpPr>
            <p:spPr bwMode="auto">
              <a:xfrm>
                <a:off x="1584" y="2208"/>
                <a:ext cx="384" cy="21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eaLnBrk="0" hangingPunct="0">
                  <a:spcBef>
                    <a:spcPct val="50000"/>
                  </a:spcBef>
                </a:pPr>
                <a:r>
                  <a:rPr lang="en-GB" altLang="fr-FR" sz="1600">
                    <a:latin typeface="Cooper Md BT" pitchFamily="18" charset="0"/>
                  </a:rPr>
                  <a:t>D</a:t>
                </a:r>
              </a:p>
            </p:txBody>
          </p:sp>
          <p:sp>
            <p:nvSpPr>
              <p:cNvPr id="248865" name="Freeform 33"/>
              <p:cNvSpPr>
                <a:spLocks/>
              </p:cNvSpPr>
              <p:nvPr/>
            </p:nvSpPr>
            <p:spPr bwMode="auto">
              <a:xfrm>
                <a:off x="1680" y="1632"/>
                <a:ext cx="300" cy="228"/>
              </a:xfrm>
              <a:custGeom>
                <a:avLst/>
                <a:gdLst>
                  <a:gd name="T0" fmla="*/ 0 w 300"/>
                  <a:gd name="T1" fmla="*/ 0 h 228"/>
                  <a:gd name="T2" fmla="*/ 300 w 300"/>
                  <a:gd name="T3" fmla="*/ 228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00" h="228">
                    <a:moveTo>
                      <a:pt x="0" y="0"/>
                    </a:moveTo>
                    <a:lnTo>
                      <a:pt x="300" y="228"/>
                    </a:lnTo>
                  </a:path>
                </a:pathLst>
              </a:custGeom>
              <a:noFill/>
              <a:ln w="9525">
                <a:solidFill>
                  <a:schemeClr val="tx1"/>
                </a:solidFill>
                <a:round/>
                <a:headEnd type="arrow" w="med" len="med"/>
                <a:tailEnd type="arrow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/>
              </a:p>
            </p:txBody>
          </p:sp>
          <p:sp>
            <p:nvSpPr>
              <p:cNvPr id="248866" name="Text Box 34"/>
              <p:cNvSpPr txBox="1">
                <a:spLocks noChangeArrowheads="1"/>
              </p:cNvSpPr>
              <p:nvPr/>
            </p:nvSpPr>
            <p:spPr bwMode="auto">
              <a:xfrm>
                <a:off x="1968" y="1824"/>
                <a:ext cx="144" cy="21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eaLnBrk="0" hangingPunct="0">
                  <a:spcBef>
                    <a:spcPct val="50000"/>
                  </a:spcBef>
                </a:pPr>
                <a:r>
                  <a:rPr lang="en-GB" altLang="fr-FR" sz="1600">
                    <a:latin typeface="Cooper Md BT" pitchFamily="18" charset="0"/>
                  </a:rPr>
                  <a:t>d</a:t>
                </a:r>
              </a:p>
            </p:txBody>
          </p:sp>
          <p:sp>
            <p:nvSpPr>
              <p:cNvPr id="248867" name="Freeform 35"/>
              <p:cNvSpPr>
                <a:spLocks/>
              </p:cNvSpPr>
              <p:nvPr/>
            </p:nvSpPr>
            <p:spPr bwMode="auto">
              <a:xfrm>
                <a:off x="1056" y="3156"/>
                <a:ext cx="708" cy="204"/>
              </a:xfrm>
              <a:custGeom>
                <a:avLst/>
                <a:gdLst>
                  <a:gd name="T0" fmla="*/ 708 w 708"/>
                  <a:gd name="T1" fmla="*/ 0 h 204"/>
                  <a:gd name="T2" fmla="*/ 0 w 708"/>
                  <a:gd name="T3" fmla="*/ 204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08" h="204">
                    <a:moveTo>
                      <a:pt x="708" y="0"/>
                    </a:moveTo>
                    <a:lnTo>
                      <a:pt x="0" y="204"/>
                    </a:lnTo>
                  </a:path>
                </a:pathLst>
              </a:custGeom>
              <a:noFill/>
              <a:ln w="9525">
                <a:solidFill>
                  <a:schemeClr val="accent2"/>
                </a:solidFill>
                <a:round/>
                <a:headEnd type="arrow" w="med" len="med"/>
                <a:tailEnd type="arrow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/>
              </a:p>
            </p:txBody>
          </p:sp>
          <p:sp>
            <p:nvSpPr>
              <p:cNvPr id="248868" name="Text Box 36"/>
              <p:cNvSpPr txBox="1">
                <a:spLocks noChangeArrowheads="1"/>
              </p:cNvSpPr>
              <p:nvPr/>
            </p:nvSpPr>
            <p:spPr bwMode="auto">
              <a:xfrm>
                <a:off x="1776" y="3072"/>
                <a:ext cx="240" cy="21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eaLnBrk="0" hangingPunct="0">
                  <a:spcBef>
                    <a:spcPct val="50000"/>
                  </a:spcBef>
                </a:pPr>
                <a:r>
                  <a:rPr lang="en-GB" altLang="fr-FR" sz="1600">
                    <a:latin typeface="Cooper Md BT" pitchFamily="18" charset="0"/>
                  </a:rPr>
                  <a:t>L</a:t>
                </a:r>
              </a:p>
            </p:txBody>
          </p:sp>
          <p:sp>
            <p:nvSpPr>
              <p:cNvPr id="248869" name="Freeform 37"/>
              <p:cNvSpPr>
                <a:spLocks/>
              </p:cNvSpPr>
              <p:nvPr/>
            </p:nvSpPr>
            <p:spPr bwMode="auto">
              <a:xfrm>
                <a:off x="1284" y="3000"/>
                <a:ext cx="132" cy="576"/>
              </a:xfrm>
              <a:custGeom>
                <a:avLst/>
                <a:gdLst>
                  <a:gd name="T0" fmla="*/ 0 w 132"/>
                  <a:gd name="T1" fmla="*/ 0 h 576"/>
                  <a:gd name="T2" fmla="*/ 132 w 132"/>
                  <a:gd name="T3" fmla="*/ 576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32" h="576">
                    <a:moveTo>
                      <a:pt x="0" y="0"/>
                    </a:moveTo>
                    <a:lnTo>
                      <a:pt x="132" y="576"/>
                    </a:lnTo>
                  </a:path>
                </a:pathLst>
              </a:custGeom>
              <a:noFill/>
              <a:ln w="9525">
                <a:solidFill>
                  <a:schemeClr val="tx1"/>
                </a:solidFill>
                <a:round/>
                <a:headEnd type="triangle" w="med" len="med"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/>
              </a:p>
            </p:txBody>
          </p:sp>
          <p:sp>
            <p:nvSpPr>
              <p:cNvPr id="248870" name="Text Box 38"/>
              <p:cNvSpPr txBox="1">
                <a:spLocks noChangeArrowheads="1"/>
              </p:cNvSpPr>
              <p:nvPr/>
            </p:nvSpPr>
            <p:spPr bwMode="auto">
              <a:xfrm>
                <a:off x="1104" y="2880"/>
                <a:ext cx="144" cy="21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eaLnBrk="0" hangingPunct="0">
                  <a:spcBef>
                    <a:spcPct val="50000"/>
                  </a:spcBef>
                </a:pPr>
                <a:r>
                  <a:rPr lang="en-GB" altLang="fr-FR" sz="1600">
                    <a:latin typeface="Cooper Md BT" pitchFamily="18" charset="0"/>
                  </a:rPr>
                  <a:t>l</a:t>
                </a:r>
              </a:p>
            </p:txBody>
          </p:sp>
        </p:grpSp>
        <p:graphicFrame>
          <p:nvGraphicFramePr>
            <p:cNvPr id="248871" name="Picture 1"/>
            <p:cNvGraphicFramePr>
              <a:graphicFrameLocks noChangeAspect="1"/>
            </p:cNvGraphicFramePr>
            <p:nvPr/>
          </p:nvGraphicFramePr>
          <p:xfrm>
            <a:off x="144" y="144"/>
            <a:ext cx="192" cy="19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3343" name="Image Bitmap" r:id="rId3" imgW="1400000" imgH="1400000" progId="Paint.Picture">
                    <p:embed/>
                  </p:oleObj>
                </mc:Choice>
                <mc:Fallback>
                  <p:oleObj name="Image Bitmap" r:id="rId3" imgW="1400000" imgH="1400000" progId="Paint.Picture">
                    <p:embed/>
                    <p:pic>
                      <p:nvPicPr>
                        <p:cNvPr id="248871" name="Picture 1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4">
                          <a:clrChange>
                            <a:clrFrom>
                              <a:srgbClr val="FFFFFF"/>
                            </a:clrFrom>
                            <a:clrTo>
                              <a:srgbClr val="FFFFFF">
                                <a:alpha val="0"/>
                              </a:srgbClr>
                            </a:clrTo>
                          </a:clrChange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44" y="144"/>
                          <a:ext cx="192" cy="192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0">
                              <a:solidFill>
                                <a:srgbClr val="FFFFFF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248872" name="Picture 1"/>
            <p:cNvGraphicFramePr>
              <a:graphicFrameLocks noChangeAspect="1"/>
            </p:cNvGraphicFramePr>
            <p:nvPr/>
          </p:nvGraphicFramePr>
          <p:xfrm>
            <a:off x="5376" y="3984"/>
            <a:ext cx="192" cy="19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3344" name="Image Bitmap" r:id="rId5" imgW="1400000" imgH="1400000" progId="Paint.Picture">
                    <p:embed/>
                  </p:oleObj>
                </mc:Choice>
                <mc:Fallback>
                  <p:oleObj name="Image Bitmap" r:id="rId5" imgW="1400000" imgH="1400000" progId="Paint.Picture">
                    <p:embed/>
                    <p:pic>
                      <p:nvPicPr>
                        <p:cNvPr id="248872" name="Picture 1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4">
                          <a:clrChange>
                            <a:clrFrom>
                              <a:srgbClr val="FFFFFF"/>
                            </a:clrFrom>
                            <a:clrTo>
                              <a:srgbClr val="FFFFFF">
                                <a:alpha val="0"/>
                              </a:srgbClr>
                            </a:clrTo>
                          </a:clrChange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5376" y="3984"/>
                          <a:ext cx="192" cy="192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0">
                              <a:solidFill>
                                <a:srgbClr val="FFFFFF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305288813"/>
      </p:ext>
    </p:extLst>
  </p:cSld>
  <p:clrMapOvr>
    <a:masterClrMapping/>
  </p:clrMapOvr>
  <p:transition>
    <p:randomBar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814737-4C6F-40B6-874F-6DD40A510BBD}" type="slidenum">
              <a:rPr lang="en-GB" altLang="fr-FR"/>
              <a:pPr/>
              <a:t>14</a:t>
            </a:fld>
            <a:endParaRPr lang="en-GB" altLang="fr-FR"/>
          </a:p>
        </p:txBody>
      </p:sp>
      <p:sp>
        <p:nvSpPr>
          <p:cNvPr id="290818" name="Rectangle 1026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fr-FR" altLang="fr-FR" sz="3200"/>
              <a:t>Rétroréflexion en fonction du grammage</a:t>
            </a:r>
            <a:endParaRPr lang="fr-FR" altLang="fr-FR"/>
          </a:p>
        </p:txBody>
      </p:sp>
      <p:graphicFrame>
        <p:nvGraphicFramePr>
          <p:cNvPr id="290819" name="Object 1027"/>
          <p:cNvGraphicFramePr>
            <a:graphicFrameLocks noGrp="1" noChangeAspect="1"/>
          </p:cNvGraphicFramePr>
          <p:nvPr>
            <p:ph type="chart" idx="1"/>
          </p:nvPr>
        </p:nvGraphicFramePr>
        <p:xfrm>
          <a:off x="2209801" y="1905000"/>
          <a:ext cx="7770813" cy="4114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4" name="Graphique" r:id="rId3" imgW="9715692" imgH="5143500" progId="MSGraph.Chart.8">
                  <p:embed followColorScheme="full"/>
                </p:oleObj>
              </mc:Choice>
              <mc:Fallback>
                <p:oleObj name="Graphique" r:id="rId3" imgW="9715692" imgH="5143500" progId="MSGraph.Chart.8">
                  <p:embed followColorScheme="full"/>
                  <p:pic>
                    <p:nvPicPr>
                      <p:cNvPr id="290819" name="Object 10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09801" y="1905000"/>
                        <a:ext cx="7770813" cy="4114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82187372"/>
      </p:ext>
    </p:extLst>
  </p:cSld>
  <p:clrMapOvr>
    <a:masterClrMapping/>
  </p:clrMapOvr>
  <p:transition>
    <p:split orient="vert" dir="in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27180F28-969B-454A-B700-17F257164FBA}" type="slidenum">
              <a:rPr lang="en-GB" altLang="fr-FR"/>
              <a:pPr/>
              <a:t>15</a:t>
            </a:fld>
            <a:endParaRPr lang="en-GB" altLang="fr-FR"/>
          </a:p>
        </p:txBody>
      </p:sp>
      <p:pic>
        <p:nvPicPr>
          <p:cNvPr id="302082" name="Picture 2" descr="sot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4100" y="620714"/>
            <a:ext cx="7543800" cy="5475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2085" name="Text Box 5"/>
          <p:cNvSpPr txBox="1">
            <a:spLocks noChangeArrowheads="1"/>
          </p:cNvSpPr>
          <p:nvPr/>
        </p:nvSpPr>
        <p:spPr bwMode="auto">
          <a:xfrm>
            <a:off x="6960993" y="1034534"/>
            <a:ext cx="2345129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fr-FR" altLang="fr-FR">
                <a:solidFill>
                  <a:srgbClr val="FF33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Et un bon applicateur...</a:t>
            </a:r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694012758"/>
      </p:ext>
    </p:extLst>
  </p:cSld>
  <p:clrMapOvr>
    <a:masterClrMapping/>
  </p:clrMapOvr>
  <p:transition>
    <p:randomBa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20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208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20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3020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3020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20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20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3020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20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fld id="{65AC5D4B-EA55-4902-9ABC-7439A84A6614}" type="slidenum">
              <a:rPr lang="en-GB" altLang="fr-FR" sz="1400">
                <a:latin typeface="Times New Roman" panose="02020603050405020304" pitchFamily="18" charset="0"/>
              </a:rPr>
              <a:pPr/>
              <a:t>16</a:t>
            </a:fld>
            <a:endParaRPr lang="en-GB" altLang="fr-FR" sz="1400">
              <a:latin typeface="Times New Roman" panose="02020603050405020304" pitchFamily="18" charset="0"/>
            </a:endParaRPr>
          </a:p>
        </p:txBody>
      </p:sp>
      <p:pic>
        <p:nvPicPr>
          <p:cNvPr id="36867" name="Picture 2" descr="pic17371-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8214" y="55563"/>
            <a:ext cx="7991475" cy="6469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868" name="Text Box 3"/>
          <p:cNvSpPr txBox="1">
            <a:spLocks noChangeArrowheads="1"/>
          </p:cNvSpPr>
          <p:nvPr/>
        </p:nvSpPr>
        <p:spPr bwMode="auto">
          <a:xfrm>
            <a:off x="1992314" y="3213100"/>
            <a:ext cx="648017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 b="1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 b="1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 b="1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 b="1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 b="1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fr-FR" altLang="fr-FR" sz="2400">
                <a:solidFill>
                  <a:srgbClr val="FF3300"/>
                </a:solidFill>
                <a:latin typeface="Tahoma" panose="020B0604030504040204" pitchFamily="34" charset="0"/>
              </a:rPr>
              <a:t>Et une bonne technique d’application..!</a:t>
            </a:r>
          </a:p>
        </p:txBody>
      </p:sp>
    </p:spTree>
    <p:extLst>
      <p:ext uri="{BB962C8B-B14F-4D97-AF65-F5344CB8AC3E}">
        <p14:creationId xmlns:p14="http://schemas.microsoft.com/office/powerpoint/2010/main" val="1610194865"/>
      </p:ext>
    </p:extLst>
  </p:cSld>
  <p:clrMapOvr>
    <a:masterClrMapping/>
  </p:clrMapOvr>
  <p:transition>
    <p:randomBar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E9EA373C-C7B9-410F-9B0E-A7831509AA67}" type="slidenum">
              <a:rPr lang="en-GB" altLang="fr-FR"/>
              <a:pPr/>
              <a:t>17</a:t>
            </a:fld>
            <a:endParaRPr lang="en-GB" altLang="fr-FR"/>
          </a:p>
        </p:txBody>
      </p:sp>
      <p:sp>
        <p:nvSpPr>
          <p:cNvPr id="453634" name="Rectangle 2"/>
          <p:cNvSpPr>
            <a:spLocks noGrp="1" noChangeArrowheads="1"/>
          </p:cNvSpPr>
          <p:nvPr>
            <p:ph type="title"/>
          </p:nvPr>
        </p:nvSpPr>
        <p:spPr>
          <a:xfrm>
            <a:off x="1524000" y="1"/>
            <a:ext cx="9144000" cy="1730375"/>
          </a:xfrm>
        </p:spPr>
        <p:txBody>
          <a:bodyPr/>
          <a:lstStyle/>
          <a:p>
            <a:pPr algn="ctr"/>
            <a:r>
              <a:rPr lang="fr-FR" altLang="fr-FR" sz="3200" dirty="0" smtClean="0"/>
              <a:t>AUGMENTER LE SRT</a:t>
            </a:r>
            <a:endParaRPr lang="fr-FR" altLang="fr-FR" sz="3200" dirty="0"/>
          </a:p>
        </p:txBody>
      </p:sp>
      <p:sp>
        <p:nvSpPr>
          <p:cNvPr id="453635" name="Rectangle 3"/>
          <p:cNvSpPr>
            <a:spLocks noChangeArrowheads="1"/>
          </p:cNvSpPr>
          <p:nvPr/>
        </p:nvSpPr>
        <p:spPr bwMode="auto">
          <a:xfrm>
            <a:off x="1524001" y="1960047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endParaRPr lang="fr-FR"/>
          </a:p>
        </p:txBody>
      </p:sp>
      <p:sp>
        <p:nvSpPr>
          <p:cNvPr id="453639" name="Rectangle 7"/>
          <p:cNvSpPr>
            <a:spLocks noChangeArrowheads="1"/>
          </p:cNvSpPr>
          <p:nvPr/>
        </p:nvSpPr>
        <p:spPr bwMode="auto">
          <a:xfrm>
            <a:off x="1524001" y="189178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endParaRPr lang="fr-FR"/>
          </a:p>
        </p:txBody>
      </p:sp>
      <p:graphicFrame>
        <p:nvGraphicFramePr>
          <p:cNvPr id="453638" name="Object 6"/>
          <p:cNvGraphicFramePr>
            <a:graphicFrameLocks noChangeAspect="1"/>
          </p:cNvGraphicFramePr>
          <p:nvPr/>
        </p:nvGraphicFramePr>
        <p:xfrm>
          <a:off x="1524000" y="1484314"/>
          <a:ext cx="9036050" cy="4479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6" name="Feuille de calcul" r:id="rId3" imgW="9258300" imgH="5734202" progId="Excel.Sheet.8">
                  <p:embed/>
                </p:oleObj>
              </mc:Choice>
              <mc:Fallback>
                <p:oleObj name="Feuille de calcul" r:id="rId3" imgW="9258300" imgH="5734202" progId="Excel.Sheet.8">
                  <p:embed/>
                  <p:pic>
                    <p:nvPicPr>
                      <p:cNvPr id="453638" name="Object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1484314"/>
                        <a:ext cx="9036050" cy="4479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69339070"/>
      </p:ext>
    </p:extLst>
  </p:cSld>
  <p:clrMapOvr>
    <a:masterClrMapping/>
  </p:clrMapOvr>
  <p:transition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36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4536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4536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30000">
                                          <p:val>
                                            <p:strVal val="#ppt_h/2"/>
                                          </p:val>
                                        </p:tav>
                                        <p:tav tm="40000">
                                          <p:val>
                                            <p:strVal val="#ppt_h"/>
                                          </p:val>
                                        </p:tav>
                                        <p:tav tm="50000">
                                          <p:val>
                                            <p:strVal val="#ppt_h/2"/>
                                          </p:val>
                                        </p:tav>
                                        <p:tav tm="60000">
                                          <p:val>
                                            <p:strVal val="#ppt_h"/>
                                          </p:val>
                                        </p:tav>
                                        <p:tav tm="69900">
                                          <p:val>
                                            <p:strVal val="#ppt_h/2"/>
                                          </p:val>
                                        </p:tav>
                                        <p:tav tm="8000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4536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2000" fill="hold"/>
                                        <p:tgtEl>
                                          <p:spTgt spid="4536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5"/>
                                          </p:val>
                                        </p:tav>
                                        <p:tav tm="20000">
                                          <p:val>
                                            <p:strVal val="#ppt_y-.2"/>
                                          </p:val>
                                        </p:tav>
                                        <p:tav tm="30000">
                                          <p:val>
                                            <p:strVal val="#ppt_y"/>
                                          </p:val>
                                        </p:tav>
                                        <p:tav tm="40000">
                                          <p:val>
                                            <p:strVal val="#ppt_y-.15"/>
                                          </p:val>
                                        </p:tav>
                                        <p:tav tm="50000">
                                          <p:val>
                                            <p:strVal val="#ppt_y"/>
                                          </p:val>
                                        </p:tav>
                                        <p:tav tm="60000">
                                          <p:val>
                                            <p:strVal val="#ppt_y-.1"/>
                                          </p:val>
                                        </p:tav>
                                        <p:tav tm="69900">
                                          <p:val>
                                            <p:strVal val="#ppt_y"/>
                                          </p:val>
                                        </p:tav>
                                        <p:tav tm="80000">
                                          <p:val>
                                            <p:strVal val="#ppt_y-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3634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pic19895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81200" y="1077447"/>
            <a:ext cx="8229600" cy="4789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nl-BE" smtClean="0"/>
              <a:t>Date</a:t>
            </a:r>
            <a:endParaRPr lang="fr-BE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- CONFIDENTIAL -</a:t>
            </a:r>
            <a:endParaRPr lang="fr-BE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447D3AE0-FB8A-4915-B100-4144755AAF93}" type="slidenum">
              <a:rPr lang="fr-BE" smtClean="0"/>
              <a:pPr>
                <a:defRPr/>
              </a:pPr>
              <a:t>18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1097585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977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fr-FR" altLang="fr-FR" sz="3600" dirty="0"/>
              <a:t>Utilité du traitement</a:t>
            </a:r>
            <a:endParaRPr lang="fr-FR" alt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294967295"/>
          </p:nvPr>
        </p:nvSpPr>
        <p:spPr>
          <a:xfrm>
            <a:off x="2209800" y="6400800"/>
            <a:ext cx="1905000" cy="457200"/>
          </a:xfrm>
          <a:prstGeom prst="rect">
            <a:avLst/>
          </a:prstGeom>
        </p:spPr>
        <p:txBody>
          <a:bodyPr/>
          <a:lstStyle/>
          <a:p>
            <a:fld id="{D7A2DAC4-721B-46BE-AA20-213FEB85388E}" type="slidenum">
              <a:rPr lang="en-GB" altLang="fr-FR"/>
              <a:pPr/>
              <a:t>19</a:t>
            </a:fld>
            <a:endParaRPr lang="en-GB" altLang="fr-FR"/>
          </a:p>
        </p:txBody>
      </p:sp>
      <p:sp>
        <p:nvSpPr>
          <p:cNvPr id="459779" name="Rectangle 3"/>
          <p:cNvSpPr>
            <a:spLocks noGrp="1" noChangeArrowheads="1"/>
          </p:cNvSpPr>
          <p:nvPr>
            <p:ph sz="quarter" idx="1"/>
          </p:nvPr>
        </p:nvSpPr>
        <p:spPr>
          <a:xfrm>
            <a:off x="2209800" y="1905000"/>
            <a:ext cx="7772400" cy="4114800"/>
          </a:xfrm>
          <a:prstGeom prst="rect">
            <a:avLst/>
          </a:prstGeom>
        </p:spPr>
        <p:txBody>
          <a:bodyPr/>
          <a:lstStyle/>
          <a:p>
            <a:pPr>
              <a:buClr>
                <a:srgbClr val="FF3300"/>
              </a:buClr>
              <a:buFont typeface="Wingdings" pitchFamily="2" charset="2"/>
              <a:buChar char="Ø"/>
            </a:pPr>
            <a:r>
              <a:rPr lang="en-US" altLang="fr-FR" dirty="0" err="1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Contrôler</a:t>
            </a:r>
            <a:r>
              <a:rPr lang="en-US" altLang="fr-FR" dirty="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  <a:r>
              <a:rPr lang="en-US" altLang="fr-FR" dirty="0" err="1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l'enfoncement</a:t>
            </a:r>
            <a:r>
              <a:rPr lang="en-US" altLang="fr-FR" dirty="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 des </a:t>
            </a:r>
            <a:r>
              <a:rPr lang="en-US" altLang="fr-FR" dirty="0" err="1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billes</a:t>
            </a:r>
            <a:endParaRPr lang="en-US" altLang="fr-FR" dirty="0" smtClean="0"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>
              <a:buClr>
                <a:srgbClr val="FF3300"/>
              </a:buClr>
              <a:buFont typeface="Wingdings" pitchFamily="2" charset="2"/>
              <a:buChar char="Ø"/>
            </a:pPr>
            <a:r>
              <a:rPr lang="en-US" altLang="fr-FR" dirty="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Assurer un bon </a:t>
            </a:r>
            <a:r>
              <a:rPr lang="en-US" altLang="fr-FR" dirty="0" err="1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accrochage</a:t>
            </a:r>
            <a:r>
              <a:rPr lang="en-US" altLang="fr-FR" dirty="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 sur le </a:t>
            </a:r>
            <a:r>
              <a:rPr lang="en-US" altLang="fr-FR" dirty="0" err="1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produit</a:t>
            </a:r>
            <a:r>
              <a:rPr lang="en-US" altLang="fr-FR" dirty="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 de marquage</a:t>
            </a:r>
            <a:endParaRPr lang="en-US" altLang="fr-FR" dirty="0"/>
          </a:p>
          <a:p>
            <a:pPr>
              <a:buClr>
                <a:srgbClr val="FF3300"/>
              </a:buClr>
              <a:buFont typeface="Wingdings" pitchFamily="2" charset="2"/>
              <a:buChar char="Ø"/>
            </a:pPr>
            <a:r>
              <a:rPr lang="en-US" altLang="fr-FR" dirty="0" err="1" smtClean="0"/>
              <a:t>Réduire</a:t>
            </a:r>
            <a:r>
              <a:rPr lang="en-US" altLang="fr-FR" dirty="0" smtClean="0"/>
              <a:t> le </a:t>
            </a:r>
            <a:r>
              <a:rPr lang="en-US" altLang="fr-FR" dirty="0" err="1" smtClean="0"/>
              <a:t>phénomène</a:t>
            </a:r>
            <a:r>
              <a:rPr lang="en-US" altLang="fr-FR" dirty="0" smtClean="0"/>
              <a:t> </a:t>
            </a:r>
            <a:r>
              <a:rPr lang="en-US" altLang="fr-FR" dirty="0" err="1" smtClean="0"/>
              <a:t>d'arrachement</a:t>
            </a:r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4111720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FB112679-054F-4696-B7B4-5B17D82AF513}" type="slidenum">
              <a:rPr lang="en-GB" altLang="fr-FR"/>
              <a:pPr/>
              <a:t>2</a:t>
            </a:fld>
            <a:endParaRPr lang="en-GB" altLang="fr-FR" dirty="0"/>
          </a:p>
        </p:txBody>
      </p:sp>
      <p:pic>
        <p:nvPicPr>
          <p:cNvPr id="435202" name="Picture 2" descr="old striper rear view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3363875"/>
      </p:ext>
    </p:extLst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numéro de diapositive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AA72CC91-653F-491E-87F6-A12447435B65}" type="slidenum">
              <a:rPr lang="en-GB" altLang="fr-FR"/>
              <a:pPr/>
              <a:t>20</a:t>
            </a:fld>
            <a:endParaRPr lang="en-GB" altLang="fr-FR" dirty="0"/>
          </a:p>
        </p:txBody>
      </p:sp>
      <p:grpSp>
        <p:nvGrpSpPr>
          <p:cNvPr id="454658" name="Group 2"/>
          <p:cNvGrpSpPr>
            <a:grpSpLocks/>
          </p:cNvGrpSpPr>
          <p:nvPr/>
        </p:nvGrpSpPr>
        <p:grpSpPr bwMode="auto">
          <a:xfrm>
            <a:off x="1524000" y="533400"/>
            <a:ext cx="9164638" cy="5703912"/>
            <a:chOff x="0" y="336"/>
            <a:chExt cx="5773" cy="3984"/>
          </a:xfrm>
        </p:grpSpPr>
        <p:grpSp>
          <p:nvGrpSpPr>
            <p:cNvPr id="454659" name="Group 3"/>
            <p:cNvGrpSpPr>
              <a:grpSpLocks/>
            </p:cNvGrpSpPr>
            <p:nvPr/>
          </p:nvGrpSpPr>
          <p:grpSpPr bwMode="auto">
            <a:xfrm>
              <a:off x="0" y="1392"/>
              <a:ext cx="5773" cy="2928"/>
              <a:chOff x="0" y="1392"/>
              <a:chExt cx="5773" cy="2928"/>
            </a:xfrm>
          </p:grpSpPr>
          <p:grpSp>
            <p:nvGrpSpPr>
              <p:cNvPr id="454660" name="Group 4"/>
              <p:cNvGrpSpPr>
                <a:grpSpLocks/>
              </p:cNvGrpSpPr>
              <p:nvPr/>
            </p:nvGrpSpPr>
            <p:grpSpPr bwMode="auto">
              <a:xfrm>
                <a:off x="0" y="1392"/>
                <a:ext cx="5773" cy="1872"/>
                <a:chOff x="-13" y="2112"/>
                <a:chExt cx="5773" cy="1872"/>
              </a:xfrm>
            </p:grpSpPr>
            <p:sp>
              <p:nvSpPr>
                <p:cNvPr id="454661" name="Freeform 5" descr="Papier journal"/>
                <p:cNvSpPr>
                  <a:spLocks/>
                </p:cNvSpPr>
                <p:nvPr/>
              </p:nvSpPr>
              <p:spPr bwMode="auto">
                <a:xfrm>
                  <a:off x="-13" y="2826"/>
                  <a:ext cx="5773" cy="1158"/>
                </a:xfrm>
                <a:custGeom>
                  <a:avLst/>
                  <a:gdLst>
                    <a:gd name="T0" fmla="*/ 613 w 5773"/>
                    <a:gd name="T1" fmla="*/ 100 h 1158"/>
                    <a:gd name="T2" fmla="*/ 707 w 5773"/>
                    <a:gd name="T3" fmla="*/ 60 h 1158"/>
                    <a:gd name="T4" fmla="*/ 887 w 5773"/>
                    <a:gd name="T5" fmla="*/ 56 h 1158"/>
                    <a:gd name="T6" fmla="*/ 971 w 5773"/>
                    <a:gd name="T7" fmla="*/ 106 h 1158"/>
                    <a:gd name="T8" fmla="*/ 1105 w 5773"/>
                    <a:gd name="T9" fmla="*/ 148 h 1158"/>
                    <a:gd name="T10" fmla="*/ 1219 w 5773"/>
                    <a:gd name="T11" fmla="*/ 148 h 1158"/>
                    <a:gd name="T12" fmla="*/ 1311 w 5773"/>
                    <a:gd name="T13" fmla="*/ 130 h 1158"/>
                    <a:gd name="T14" fmla="*/ 1433 w 5773"/>
                    <a:gd name="T15" fmla="*/ 64 h 1158"/>
                    <a:gd name="T16" fmla="*/ 1457 w 5773"/>
                    <a:gd name="T17" fmla="*/ 46 h 1158"/>
                    <a:gd name="T18" fmla="*/ 1495 w 5773"/>
                    <a:gd name="T19" fmla="*/ 6 h 1158"/>
                    <a:gd name="T20" fmla="*/ 1645 w 5773"/>
                    <a:gd name="T21" fmla="*/ 64 h 1158"/>
                    <a:gd name="T22" fmla="*/ 2279 w 5773"/>
                    <a:gd name="T23" fmla="*/ 106 h 1158"/>
                    <a:gd name="T24" fmla="*/ 2415 w 5773"/>
                    <a:gd name="T25" fmla="*/ 22 h 1158"/>
                    <a:gd name="T26" fmla="*/ 2449 w 5773"/>
                    <a:gd name="T27" fmla="*/ 280 h 1158"/>
                    <a:gd name="T28" fmla="*/ 2539 w 5773"/>
                    <a:gd name="T29" fmla="*/ 402 h 1158"/>
                    <a:gd name="T30" fmla="*/ 2793 w 5773"/>
                    <a:gd name="T31" fmla="*/ 534 h 1158"/>
                    <a:gd name="T32" fmla="*/ 2955 w 5773"/>
                    <a:gd name="T33" fmla="*/ 524 h 1158"/>
                    <a:gd name="T34" fmla="*/ 3181 w 5773"/>
                    <a:gd name="T35" fmla="*/ 376 h 1158"/>
                    <a:gd name="T36" fmla="*/ 3251 w 5773"/>
                    <a:gd name="T37" fmla="*/ 242 h 1158"/>
                    <a:gd name="T38" fmla="*/ 3279 w 5773"/>
                    <a:gd name="T39" fmla="*/ 162 h 1158"/>
                    <a:gd name="T40" fmla="*/ 3277 w 5773"/>
                    <a:gd name="T41" fmla="*/ 38 h 1158"/>
                    <a:gd name="T42" fmla="*/ 3333 w 5773"/>
                    <a:gd name="T43" fmla="*/ 82 h 1158"/>
                    <a:gd name="T44" fmla="*/ 3483 w 5773"/>
                    <a:gd name="T45" fmla="*/ 102 h 1158"/>
                    <a:gd name="T46" fmla="*/ 4379 w 5773"/>
                    <a:gd name="T47" fmla="*/ 72 h 1158"/>
                    <a:gd name="T48" fmla="*/ 4485 w 5773"/>
                    <a:gd name="T49" fmla="*/ 20 h 1158"/>
                    <a:gd name="T50" fmla="*/ 4392 w 5773"/>
                    <a:gd name="T51" fmla="*/ 98 h 1158"/>
                    <a:gd name="T52" fmla="*/ 4311 w 5773"/>
                    <a:gd name="T53" fmla="*/ 232 h 1158"/>
                    <a:gd name="T54" fmla="*/ 4281 w 5773"/>
                    <a:gd name="T55" fmla="*/ 390 h 1158"/>
                    <a:gd name="T56" fmla="*/ 4311 w 5773"/>
                    <a:gd name="T57" fmla="*/ 542 h 1158"/>
                    <a:gd name="T58" fmla="*/ 4479 w 5773"/>
                    <a:gd name="T59" fmla="*/ 754 h 1158"/>
                    <a:gd name="T60" fmla="*/ 4591 w 5773"/>
                    <a:gd name="T61" fmla="*/ 808 h 1158"/>
                    <a:gd name="T62" fmla="*/ 4685 w 5773"/>
                    <a:gd name="T63" fmla="*/ 822 h 1158"/>
                    <a:gd name="T64" fmla="*/ 4805 w 5773"/>
                    <a:gd name="T65" fmla="*/ 820 h 1158"/>
                    <a:gd name="T66" fmla="*/ 5009 w 5773"/>
                    <a:gd name="T67" fmla="*/ 716 h 1158"/>
                    <a:gd name="T68" fmla="*/ 5113 w 5773"/>
                    <a:gd name="T69" fmla="*/ 584 h 1158"/>
                    <a:gd name="T70" fmla="*/ 5139 w 5773"/>
                    <a:gd name="T71" fmla="*/ 508 h 1158"/>
                    <a:gd name="T72" fmla="*/ 5153 w 5773"/>
                    <a:gd name="T73" fmla="*/ 370 h 1158"/>
                    <a:gd name="T74" fmla="*/ 5143 w 5773"/>
                    <a:gd name="T75" fmla="*/ 304 h 1158"/>
                    <a:gd name="T76" fmla="*/ 5129 w 5773"/>
                    <a:gd name="T77" fmla="*/ 260 h 1158"/>
                    <a:gd name="T78" fmla="*/ 5030 w 5773"/>
                    <a:gd name="T79" fmla="*/ 98 h 1158"/>
                    <a:gd name="T80" fmla="*/ 5041 w 5773"/>
                    <a:gd name="T81" fmla="*/ 72 h 1158"/>
                    <a:gd name="T82" fmla="*/ 5773 w 5773"/>
                    <a:gd name="T83" fmla="*/ 98 h 1158"/>
                    <a:gd name="T84" fmla="*/ 0 w 5773"/>
                    <a:gd name="T85" fmla="*/ 1158 h 11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5773" h="1158">
                      <a:moveTo>
                        <a:pt x="0" y="98"/>
                      </a:moveTo>
                      <a:lnTo>
                        <a:pt x="613" y="100"/>
                      </a:lnTo>
                      <a:cubicBezTo>
                        <a:pt x="630" y="96"/>
                        <a:pt x="652" y="98"/>
                        <a:pt x="667" y="88"/>
                      </a:cubicBezTo>
                      <a:cubicBezTo>
                        <a:pt x="678" y="78"/>
                        <a:pt x="689" y="74"/>
                        <a:pt x="707" y="60"/>
                      </a:cubicBezTo>
                      <a:cubicBezTo>
                        <a:pt x="735" y="45"/>
                        <a:pt x="805" y="1"/>
                        <a:pt x="835" y="0"/>
                      </a:cubicBezTo>
                      <a:cubicBezTo>
                        <a:pt x="848" y="8"/>
                        <a:pt x="877" y="44"/>
                        <a:pt x="887" y="56"/>
                      </a:cubicBezTo>
                      <a:cubicBezTo>
                        <a:pt x="899" y="69"/>
                        <a:pt x="905" y="63"/>
                        <a:pt x="921" y="74"/>
                      </a:cubicBezTo>
                      <a:cubicBezTo>
                        <a:pt x="935" y="82"/>
                        <a:pt x="960" y="98"/>
                        <a:pt x="971" y="106"/>
                      </a:cubicBezTo>
                      <a:cubicBezTo>
                        <a:pt x="982" y="114"/>
                        <a:pt x="963" y="113"/>
                        <a:pt x="985" y="120"/>
                      </a:cubicBezTo>
                      <a:cubicBezTo>
                        <a:pt x="988" y="123"/>
                        <a:pt x="1101" y="147"/>
                        <a:pt x="1105" y="148"/>
                      </a:cubicBezTo>
                      <a:cubicBezTo>
                        <a:pt x="1113" y="161"/>
                        <a:pt x="1187" y="144"/>
                        <a:pt x="1199" y="154"/>
                      </a:cubicBezTo>
                      <a:cubicBezTo>
                        <a:pt x="1217" y="155"/>
                        <a:pt x="1210" y="150"/>
                        <a:pt x="1219" y="148"/>
                      </a:cubicBezTo>
                      <a:cubicBezTo>
                        <a:pt x="1228" y="146"/>
                        <a:pt x="1240" y="147"/>
                        <a:pt x="1255" y="144"/>
                      </a:cubicBezTo>
                      <a:cubicBezTo>
                        <a:pt x="1270" y="141"/>
                        <a:pt x="1292" y="137"/>
                        <a:pt x="1311" y="130"/>
                      </a:cubicBezTo>
                      <a:cubicBezTo>
                        <a:pt x="1336" y="123"/>
                        <a:pt x="1347" y="108"/>
                        <a:pt x="1369" y="104"/>
                      </a:cubicBezTo>
                      <a:cubicBezTo>
                        <a:pt x="1389" y="93"/>
                        <a:pt x="1421" y="73"/>
                        <a:pt x="1433" y="64"/>
                      </a:cubicBezTo>
                      <a:cubicBezTo>
                        <a:pt x="1445" y="55"/>
                        <a:pt x="1439" y="53"/>
                        <a:pt x="1443" y="50"/>
                      </a:cubicBezTo>
                      <a:cubicBezTo>
                        <a:pt x="1450" y="49"/>
                        <a:pt x="1453" y="41"/>
                        <a:pt x="1457" y="46"/>
                      </a:cubicBezTo>
                      <a:cubicBezTo>
                        <a:pt x="1463" y="42"/>
                        <a:pt x="1471" y="33"/>
                        <a:pt x="1477" y="26"/>
                      </a:cubicBezTo>
                      <a:cubicBezTo>
                        <a:pt x="1483" y="19"/>
                        <a:pt x="1486" y="8"/>
                        <a:pt x="1495" y="6"/>
                      </a:cubicBezTo>
                      <a:cubicBezTo>
                        <a:pt x="1504" y="4"/>
                        <a:pt x="1504" y="6"/>
                        <a:pt x="1529" y="16"/>
                      </a:cubicBezTo>
                      <a:cubicBezTo>
                        <a:pt x="1553" y="32"/>
                        <a:pt x="1621" y="48"/>
                        <a:pt x="1645" y="64"/>
                      </a:cubicBezTo>
                      <a:cubicBezTo>
                        <a:pt x="1660" y="74"/>
                        <a:pt x="1714" y="98"/>
                        <a:pt x="1731" y="106"/>
                      </a:cubicBezTo>
                      <a:lnTo>
                        <a:pt x="2279" y="106"/>
                      </a:lnTo>
                      <a:cubicBezTo>
                        <a:pt x="2294" y="103"/>
                        <a:pt x="2323" y="86"/>
                        <a:pt x="2333" y="74"/>
                      </a:cubicBezTo>
                      <a:cubicBezTo>
                        <a:pt x="2341" y="64"/>
                        <a:pt x="2415" y="9"/>
                        <a:pt x="2415" y="22"/>
                      </a:cubicBezTo>
                      <a:cubicBezTo>
                        <a:pt x="2415" y="39"/>
                        <a:pt x="2411" y="107"/>
                        <a:pt x="2407" y="124"/>
                      </a:cubicBezTo>
                      <a:cubicBezTo>
                        <a:pt x="2412" y="167"/>
                        <a:pt x="2435" y="243"/>
                        <a:pt x="2449" y="280"/>
                      </a:cubicBezTo>
                      <a:cubicBezTo>
                        <a:pt x="2463" y="317"/>
                        <a:pt x="2476" y="328"/>
                        <a:pt x="2491" y="348"/>
                      </a:cubicBezTo>
                      <a:cubicBezTo>
                        <a:pt x="2518" y="366"/>
                        <a:pt x="2509" y="389"/>
                        <a:pt x="2539" y="402"/>
                      </a:cubicBezTo>
                      <a:cubicBezTo>
                        <a:pt x="2558" y="422"/>
                        <a:pt x="2579" y="438"/>
                        <a:pt x="2611" y="466"/>
                      </a:cubicBezTo>
                      <a:cubicBezTo>
                        <a:pt x="2647" y="498"/>
                        <a:pt x="2737" y="524"/>
                        <a:pt x="2793" y="534"/>
                      </a:cubicBezTo>
                      <a:cubicBezTo>
                        <a:pt x="2844" y="543"/>
                        <a:pt x="2878" y="528"/>
                        <a:pt x="2929" y="532"/>
                      </a:cubicBezTo>
                      <a:cubicBezTo>
                        <a:pt x="2956" y="531"/>
                        <a:pt x="2922" y="539"/>
                        <a:pt x="2955" y="524"/>
                      </a:cubicBezTo>
                      <a:cubicBezTo>
                        <a:pt x="2986" y="508"/>
                        <a:pt x="3077" y="463"/>
                        <a:pt x="3115" y="438"/>
                      </a:cubicBezTo>
                      <a:cubicBezTo>
                        <a:pt x="3153" y="413"/>
                        <a:pt x="3168" y="388"/>
                        <a:pt x="3181" y="376"/>
                      </a:cubicBezTo>
                      <a:cubicBezTo>
                        <a:pt x="3194" y="364"/>
                        <a:pt x="3181" y="386"/>
                        <a:pt x="3193" y="364"/>
                      </a:cubicBezTo>
                      <a:cubicBezTo>
                        <a:pt x="3216" y="295"/>
                        <a:pt x="3228" y="311"/>
                        <a:pt x="3251" y="242"/>
                      </a:cubicBezTo>
                      <a:cubicBezTo>
                        <a:pt x="3264" y="203"/>
                        <a:pt x="3252" y="246"/>
                        <a:pt x="3265" y="208"/>
                      </a:cubicBezTo>
                      <a:cubicBezTo>
                        <a:pt x="3275" y="202"/>
                        <a:pt x="3270" y="167"/>
                        <a:pt x="3279" y="162"/>
                      </a:cubicBezTo>
                      <a:cubicBezTo>
                        <a:pt x="3282" y="150"/>
                        <a:pt x="3283" y="159"/>
                        <a:pt x="3283" y="138"/>
                      </a:cubicBezTo>
                      <a:cubicBezTo>
                        <a:pt x="3285" y="118"/>
                        <a:pt x="3268" y="45"/>
                        <a:pt x="3277" y="38"/>
                      </a:cubicBezTo>
                      <a:cubicBezTo>
                        <a:pt x="3281" y="24"/>
                        <a:pt x="3296" y="49"/>
                        <a:pt x="3305" y="56"/>
                      </a:cubicBezTo>
                      <a:cubicBezTo>
                        <a:pt x="3314" y="63"/>
                        <a:pt x="3325" y="76"/>
                        <a:pt x="3333" y="82"/>
                      </a:cubicBezTo>
                      <a:cubicBezTo>
                        <a:pt x="3341" y="88"/>
                        <a:pt x="3326" y="89"/>
                        <a:pt x="3351" y="92"/>
                      </a:cubicBezTo>
                      <a:cubicBezTo>
                        <a:pt x="3376" y="95"/>
                        <a:pt x="3324" y="100"/>
                        <a:pt x="3483" y="102"/>
                      </a:cubicBezTo>
                      <a:lnTo>
                        <a:pt x="4307" y="104"/>
                      </a:lnTo>
                      <a:cubicBezTo>
                        <a:pt x="4332" y="87"/>
                        <a:pt x="4353" y="89"/>
                        <a:pt x="4379" y="72"/>
                      </a:cubicBezTo>
                      <a:cubicBezTo>
                        <a:pt x="4392" y="63"/>
                        <a:pt x="4405" y="56"/>
                        <a:pt x="4418" y="47"/>
                      </a:cubicBezTo>
                      <a:cubicBezTo>
                        <a:pt x="4431" y="39"/>
                        <a:pt x="4485" y="20"/>
                        <a:pt x="4485" y="20"/>
                      </a:cubicBezTo>
                      <a:cubicBezTo>
                        <a:pt x="4491" y="24"/>
                        <a:pt x="4457" y="43"/>
                        <a:pt x="4441" y="56"/>
                      </a:cubicBezTo>
                      <a:cubicBezTo>
                        <a:pt x="4425" y="69"/>
                        <a:pt x="4404" y="85"/>
                        <a:pt x="4392" y="98"/>
                      </a:cubicBezTo>
                      <a:cubicBezTo>
                        <a:pt x="4381" y="109"/>
                        <a:pt x="4377" y="125"/>
                        <a:pt x="4367" y="136"/>
                      </a:cubicBezTo>
                      <a:cubicBezTo>
                        <a:pt x="4343" y="163"/>
                        <a:pt x="4311" y="232"/>
                        <a:pt x="4311" y="232"/>
                      </a:cubicBezTo>
                      <a:cubicBezTo>
                        <a:pt x="4299" y="253"/>
                        <a:pt x="4308" y="236"/>
                        <a:pt x="4303" y="262"/>
                      </a:cubicBezTo>
                      <a:cubicBezTo>
                        <a:pt x="4298" y="288"/>
                        <a:pt x="4282" y="349"/>
                        <a:pt x="4281" y="390"/>
                      </a:cubicBezTo>
                      <a:cubicBezTo>
                        <a:pt x="4275" y="416"/>
                        <a:pt x="4297" y="506"/>
                        <a:pt x="4297" y="506"/>
                      </a:cubicBezTo>
                      <a:cubicBezTo>
                        <a:pt x="4301" y="531"/>
                        <a:pt x="4302" y="520"/>
                        <a:pt x="4311" y="542"/>
                      </a:cubicBezTo>
                      <a:cubicBezTo>
                        <a:pt x="4322" y="565"/>
                        <a:pt x="4335" y="607"/>
                        <a:pt x="4363" y="642"/>
                      </a:cubicBezTo>
                      <a:cubicBezTo>
                        <a:pt x="4365" y="650"/>
                        <a:pt x="4458" y="743"/>
                        <a:pt x="4479" y="754"/>
                      </a:cubicBezTo>
                      <a:cubicBezTo>
                        <a:pt x="4513" y="771"/>
                        <a:pt x="4539" y="787"/>
                        <a:pt x="4573" y="804"/>
                      </a:cubicBezTo>
                      <a:cubicBezTo>
                        <a:pt x="4591" y="814"/>
                        <a:pt x="4576" y="804"/>
                        <a:pt x="4591" y="808"/>
                      </a:cubicBezTo>
                      <a:cubicBezTo>
                        <a:pt x="4606" y="812"/>
                        <a:pt x="4649" y="824"/>
                        <a:pt x="4665" y="826"/>
                      </a:cubicBezTo>
                      <a:cubicBezTo>
                        <a:pt x="4680" y="831"/>
                        <a:pt x="4673" y="822"/>
                        <a:pt x="4685" y="822"/>
                      </a:cubicBezTo>
                      <a:cubicBezTo>
                        <a:pt x="4697" y="822"/>
                        <a:pt x="4715" y="826"/>
                        <a:pt x="4735" y="826"/>
                      </a:cubicBezTo>
                      <a:cubicBezTo>
                        <a:pt x="4769" y="819"/>
                        <a:pt x="4771" y="824"/>
                        <a:pt x="4805" y="820"/>
                      </a:cubicBezTo>
                      <a:cubicBezTo>
                        <a:pt x="4832" y="808"/>
                        <a:pt x="4889" y="795"/>
                        <a:pt x="4923" y="778"/>
                      </a:cubicBezTo>
                      <a:cubicBezTo>
                        <a:pt x="4957" y="761"/>
                        <a:pt x="4988" y="734"/>
                        <a:pt x="5009" y="716"/>
                      </a:cubicBezTo>
                      <a:cubicBezTo>
                        <a:pt x="5022" y="703"/>
                        <a:pt x="5039" y="684"/>
                        <a:pt x="5047" y="668"/>
                      </a:cubicBezTo>
                      <a:cubicBezTo>
                        <a:pt x="5055" y="653"/>
                        <a:pt x="5112" y="587"/>
                        <a:pt x="5113" y="584"/>
                      </a:cubicBezTo>
                      <a:cubicBezTo>
                        <a:pt x="5125" y="568"/>
                        <a:pt x="5109" y="581"/>
                        <a:pt x="5113" y="568"/>
                      </a:cubicBezTo>
                      <a:cubicBezTo>
                        <a:pt x="5117" y="555"/>
                        <a:pt x="5133" y="532"/>
                        <a:pt x="5139" y="508"/>
                      </a:cubicBezTo>
                      <a:cubicBezTo>
                        <a:pt x="5145" y="484"/>
                        <a:pt x="5147" y="447"/>
                        <a:pt x="5149" y="424"/>
                      </a:cubicBezTo>
                      <a:cubicBezTo>
                        <a:pt x="5159" y="395"/>
                        <a:pt x="5145" y="377"/>
                        <a:pt x="5153" y="370"/>
                      </a:cubicBezTo>
                      <a:cubicBezTo>
                        <a:pt x="5153" y="353"/>
                        <a:pt x="5151" y="335"/>
                        <a:pt x="5149" y="324"/>
                      </a:cubicBezTo>
                      <a:cubicBezTo>
                        <a:pt x="5149" y="313"/>
                        <a:pt x="5146" y="315"/>
                        <a:pt x="5143" y="304"/>
                      </a:cubicBezTo>
                      <a:cubicBezTo>
                        <a:pt x="5140" y="294"/>
                        <a:pt x="5131" y="269"/>
                        <a:pt x="5129" y="262"/>
                      </a:cubicBezTo>
                      <a:cubicBezTo>
                        <a:pt x="5127" y="255"/>
                        <a:pt x="5132" y="269"/>
                        <a:pt x="5129" y="260"/>
                      </a:cubicBezTo>
                      <a:cubicBezTo>
                        <a:pt x="5125" y="230"/>
                        <a:pt x="5121" y="233"/>
                        <a:pt x="5109" y="206"/>
                      </a:cubicBezTo>
                      <a:cubicBezTo>
                        <a:pt x="5082" y="147"/>
                        <a:pt x="5081" y="132"/>
                        <a:pt x="5030" y="98"/>
                      </a:cubicBezTo>
                      <a:cubicBezTo>
                        <a:pt x="5015" y="71"/>
                        <a:pt x="4974" y="45"/>
                        <a:pt x="4979" y="38"/>
                      </a:cubicBezTo>
                      <a:cubicBezTo>
                        <a:pt x="4981" y="34"/>
                        <a:pt x="5021" y="62"/>
                        <a:pt x="5041" y="72"/>
                      </a:cubicBezTo>
                      <a:cubicBezTo>
                        <a:pt x="5062" y="78"/>
                        <a:pt x="5078" y="103"/>
                        <a:pt x="5099" y="98"/>
                      </a:cubicBezTo>
                      <a:lnTo>
                        <a:pt x="5773" y="98"/>
                      </a:lnTo>
                      <a:lnTo>
                        <a:pt x="5771" y="1158"/>
                      </a:lnTo>
                      <a:lnTo>
                        <a:pt x="0" y="1158"/>
                      </a:lnTo>
                      <a:lnTo>
                        <a:pt x="0" y="98"/>
                      </a:lnTo>
                      <a:close/>
                    </a:path>
                  </a:pathLst>
                </a:custGeom>
                <a:blipFill dpi="0" rotWithShape="0">
                  <a:blip r:embed="rId3"/>
                  <a:srcRect/>
                  <a:tile tx="0" ty="0" sx="100000" sy="100000" flip="none" algn="tl"/>
                </a:blipFill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fr-FR" dirty="0"/>
                </a:p>
              </p:txBody>
            </p:sp>
            <p:sp>
              <p:nvSpPr>
                <p:cNvPr id="454662" name="Oval 6"/>
                <p:cNvSpPr>
                  <a:spLocks noChangeArrowheads="1"/>
                </p:cNvSpPr>
                <p:nvPr/>
              </p:nvSpPr>
              <p:spPr bwMode="auto">
                <a:xfrm>
                  <a:off x="720" y="2112"/>
                  <a:ext cx="864" cy="864"/>
                </a:xfrm>
                <a:prstGeom prst="ellips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fr-FR" dirty="0"/>
                </a:p>
              </p:txBody>
            </p:sp>
            <p:sp>
              <p:nvSpPr>
                <p:cNvPr id="454663" name="Oval 7"/>
                <p:cNvSpPr>
                  <a:spLocks noChangeArrowheads="1"/>
                </p:cNvSpPr>
                <p:nvPr/>
              </p:nvSpPr>
              <p:spPr bwMode="auto">
                <a:xfrm>
                  <a:off x="2400" y="2496"/>
                  <a:ext cx="864" cy="864"/>
                </a:xfrm>
                <a:prstGeom prst="ellips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fr-FR" dirty="0"/>
                </a:p>
              </p:txBody>
            </p:sp>
            <p:sp>
              <p:nvSpPr>
                <p:cNvPr id="454664" name="Oval 8"/>
                <p:cNvSpPr>
                  <a:spLocks noChangeArrowheads="1"/>
                </p:cNvSpPr>
                <p:nvPr/>
              </p:nvSpPr>
              <p:spPr bwMode="auto">
                <a:xfrm>
                  <a:off x="4272" y="2784"/>
                  <a:ext cx="864" cy="864"/>
                </a:xfrm>
                <a:prstGeom prst="ellips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fr-FR" dirty="0"/>
                </a:p>
              </p:txBody>
            </p:sp>
          </p:grpSp>
          <p:sp>
            <p:nvSpPr>
              <p:cNvPr id="454665" name="Rectangle 9" descr="Granit"/>
              <p:cNvSpPr>
                <a:spLocks noChangeArrowheads="1"/>
              </p:cNvSpPr>
              <p:nvPr/>
            </p:nvSpPr>
            <p:spPr bwMode="auto">
              <a:xfrm>
                <a:off x="0" y="3264"/>
                <a:ext cx="5760" cy="1056"/>
              </a:xfrm>
              <a:prstGeom prst="rect">
                <a:avLst/>
              </a:prstGeom>
              <a:blipFill dpi="0" rotWithShape="0">
                <a:blip r:embed="rId4"/>
                <a:srcRect/>
                <a:tile tx="0" ty="0" sx="100000" sy="100000" flip="none" algn="tl"/>
              </a:blip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 dirty="0"/>
              </a:p>
            </p:txBody>
          </p:sp>
        </p:grpSp>
        <p:sp>
          <p:nvSpPr>
            <p:cNvPr id="454666" name="Text Box 10"/>
            <p:cNvSpPr txBox="1">
              <a:spLocks noChangeArrowheads="1"/>
            </p:cNvSpPr>
            <p:nvPr/>
          </p:nvSpPr>
          <p:spPr bwMode="auto">
            <a:xfrm>
              <a:off x="0" y="336"/>
              <a:ext cx="5760" cy="7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endParaRPr lang="en-GB" altLang="fr-FR" b="1" dirty="0">
                <a:solidFill>
                  <a:schemeClr val="accent2"/>
                </a:solidFill>
                <a:latin typeface="Cooper Md BT" pitchFamily="18" charset="0"/>
              </a:endParaRPr>
            </a:p>
            <a:p>
              <a:pPr algn="ctr" eaLnBrk="0" hangingPunct="0">
                <a:spcBef>
                  <a:spcPct val="50000"/>
                </a:spcBef>
              </a:pPr>
              <a:r>
                <a:rPr lang="en-GB" altLang="fr-FR" sz="3600" b="1" dirty="0" smtClean="0">
                  <a:solidFill>
                    <a:schemeClr val="accent2"/>
                  </a:solidFill>
                  <a:latin typeface="Cooper Md BT" pitchFamily="18" charset="0"/>
                </a:rPr>
                <a:t>Types d’enfoncements</a:t>
              </a:r>
              <a:endParaRPr lang="en-GB" altLang="fr-FR" sz="3600" b="1" dirty="0">
                <a:solidFill>
                  <a:schemeClr val="accent2"/>
                </a:solidFill>
                <a:latin typeface="Cooper Md BT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23932892"/>
      </p:ext>
    </p:extLst>
  </p:cSld>
  <p:clrMapOvr>
    <a:masterClrMapping/>
  </p:clrMapOvr>
  <p:transition>
    <p:randomBar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numéro de diapositive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5A00A6AD-69AF-40C2-9A0E-170F9EF63730}" type="slidenum">
              <a:rPr lang="en-GB" altLang="fr-FR"/>
              <a:pPr/>
              <a:t>21</a:t>
            </a:fld>
            <a:endParaRPr lang="en-GB" altLang="fr-FR" dirty="0"/>
          </a:p>
        </p:txBody>
      </p:sp>
      <p:grpSp>
        <p:nvGrpSpPr>
          <p:cNvPr id="455682" name="Group 2"/>
          <p:cNvGrpSpPr>
            <a:grpSpLocks/>
          </p:cNvGrpSpPr>
          <p:nvPr/>
        </p:nvGrpSpPr>
        <p:grpSpPr bwMode="auto">
          <a:xfrm>
            <a:off x="2026345" y="764704"/>
            <a:ext cx="7924800" cy="3182981"/>
            <a:chOff x="336" y="625"/>
            <a:chExt cx="4992" cy="1906"/>
          </a:xfrm>
        </p:grpSpPr>
        <p:pic>
          <p:nvPicPr>
            <p:cNvPr id="455683" name="Picture 3" descr="ENFONC2"/>
            <p:cNvPicPr>
              <a:picLocks noChangeAspect="1" noChangeArrowheads="1"/>
            </p:cNvPicPr>
            <p:nvPr/>
          </p:nvPicPr>
          <p:blipFill>
            <a:blip r:embed="rId3">
              <a:lum contrast="3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6" y="1872"/>
              <a:ext cx="4992" cy="6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55684" name="Text Box 4"/>
            <p:cNvSpPr txBox="1">
              <a:spLocks noChangeArrowheads="1"/>
            </p:cNvSpPr>
            <p:nvPr/>
          </p:nvSpPr>
          <p:spPr bwMode="auto">
            <a:xfrm>
              <a:off x="1104" y="625"/>
              <a:ext cx="3792" cy="3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1381" tIns="45692" rIns="91381" bIns="45692">
              <a:spAutoFit/>
            </a:bodyPr>
            <a:lstStyle>
              <a:lvl1pPr defTabSz="912813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defTabSz="912813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912813" defTabSz="912813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defTabSz="912813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defTabSz="912813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fr-FR" altLang="fr-FR" sz="3600" b="1" dirty="0">
                  <a:solidFill>
                    <a:schemeClr val="accent2"/>
                  </a:solidFill>
                </a:rPr>
                <a:t>Niveaux de rétroréflex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44563112"/>
      </p:ext>
    </p:extLst>
  </p:cSld>
  <p:clrMapOvr>
    <a:masterClrMapping/>
  </p:clrMapOvr>
  <p:transition>
    <p:randomBar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numéro de diapositive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CBEE8876-3471-4B63-ACCE-2A76CF3E0320}" type="slidenum">
              <a:rPr lang="en-GB" altLang="fr-FR"/>
              <a:pPr/>
              <a:t>22</a:t>
            </a:fld>
            <a:endParaRPr lang="en-GB" altLang="fr-FR"/>
          </a:p>
        </p:txBody>
      </p:sp>
      <p:grpSp>
        <p:nvGrpSpPr>
          <p:cNvPr id="456706" name="Group 2"/>
          <p:cNvGrpSpPr>
            <a:grpSpLocks/>
          </p:cNvGrpSpPr>
          <p:nvPr/>
        </p:nvGrpSpPr>
        <p:grpSpPr bwMode="auto">
          <a:xfrm>
            <a:off x="1524000" y="115889"/>
            <a:ext cx="9144000" cy="6575425"/>
            <a:chOff x="0" y="144"/>
            <a:chExt cx="5760" cy="4142"/>
          </a:xfrm>
        </p:grpSpPr>
        <p:pic>
          <p:nvPicPr>
            <p:cNvPr id="456707" name="Picture 3" descr="TROENFON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0" y="364"/>
              <a:ext cx="4704" cy="35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aphicFrame>
          <p:nvGraphicFramePr>
            <p:cNvPr id="456708" name="Picture 1"/>
            <p:cNvGraphicFramePr>
              <a:graphicFrameLocks noChangeAspect="1"/>
            </p:cNvGraphicFramePr>
            <p:nvPr/>
          </p:nvGraphicFramePr>
          <p:xfrm>
            <a:off x="624" y="434"/>
            <a:ext cx="150" cy="14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074" name="Image Bitmap" r:id="rId5" imgW="1400000" imgH="1400000" progId="Paint.Picture">
                    <p:embed/>
                  </p:oleObj>
                </mc:Choice>
                <mc:Fallback>
                  <p:oleObj name="Image Bitmap" r:id="rId5" imgW="1400000" imgH="1400000" progId="Paint.Picture">
                    <p:embed/>
                    <p:pic>
                      <p:nvPicPr>
                        <p:cNvPr id="456708" name="Picture 1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6">
                          <a:clrChange>
                            <a:clrFrom>
                              <a:srgbClr val="FFFFFF"/>
                            </a:clrFrom>
                            <a:clrTo>
                              <a:srgbClr val="FFFFFF">
                                <a:alpha val="0"/>
                              </a:srgbClr>
                            </a:clrTo>
                          </a:clrChange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624" y="434"/>
                          <a:ext cx="150" cy="146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0">
                              <a:solidFill>
                                <a:srgbClr val="FFFFFF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456709" name="Picture 1"/>
            <p:cNvGraphicFramePr>
              <a:graphicFrameLocks noChangeAspect="1"/>
            </p:cNvGraphicFramePr>
            <p:nvPr/>
          </p:nvGraphicFramePr>
          <p:xfrm>
            <a:off x="4848" y="3554"/>
            <a:ext cx="150" cy="14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075" name="Image Bitmap" r:id="rId7" imgW="1400000" imgH="1400000" progId="Paint.Picture">
                    <p:embed/>
                  </p:oleObj>
                </mc:Choice>
                <mc:Fallback>
                  <p:oleObj name="Image Bitmap" r:id="rId7" imgW="1400000" imgH="1400000" progId="Paint.Picture">
                    <p:embed/>
                    <p:pic>
                      <p:nvPicPr>
                        <p:cNvPr id="456709" name="Picture 1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6">
                          <a:clrChange>
                            <a:clrFrom>
                              <a:srgbClr val="FFFFFF"/>
                            </a:clrFrom>
                            <a:clrTo>
                              <a:srgbClr val="FFFFFF">
                                <a:alpha val="0"/>
                              </a:srgbClr>
                            </a:clrTo>
                          </a:clrChange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4848" y="3554"/>
                          <a:ext cx="150" cy="146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0">
                              <a:solidFill>
                                <a:srgbClr val="FFFFFF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456710" name="Text Box 6"/>
            <p:cNvSpPr txBox="1">
              <a:spLocks noChangeArrowheads="1"/>
            </p:cNvSpPr>
            <p:nvPr/>
          </p:nvSpPr>
          <p:spPr bwMode="auto">
            <a:xfrm>
              <a:off x="0" y="144"/>
              <a:ext cx="5760" cy="3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74264" tIns="87137" rIns="174264" bIns="87137">
              <a:spAutoFit/>
            </a:bodyPr>
            <a:lstStyle>
              <a:lvl1pPr defTabSz="915988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defTabSz="915988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915988" defTabSz="915988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defTabSz="915988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1825625" defTabSz="915988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282825" defTabSz="91598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740025" defTabSz="91598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197225" defTabSz="91598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654425" defTabSz="91598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fr-FR" sz="2500" b="1" dirty="0">
                  <a:solidFill>
                    <a:schemeClr val="accent2"/>
                  </a:solidFill>
                  <a:latin typeface="Courier New" pitchFamily="49" charset="0"/>
                </a:rPr>
                <a:t>Enfoncement important</a:t>
              </a:r>
            </a:p>
          </p:txBody>
        </p:sp>
        <p:sp>
          <p:nvSpPr>
            <p:cNvPr id="456711" name="Text Box 7"/>
            <p:cNvSpPr txBox="1">
              <a:spLocks noChangeArrowheads="1"/>
            </p:cNvSpPr>
            <p:nvPr/>
          </p:nvSpPr>
          <p:spPr bwMode="auto">
            <a:xfrm>
              <a:off x="4272" y="4080"/>
              <a:ext cx="1104" cy="20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74264" tIns="87137" rIns="174264" bIns="87137">
              <a:spAutoFit/>
            </a:bodyPr>
            <a:lstStyle>
              <a:lvl1pPr defTabSz="915988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defTabSz="915988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915988" defTabSz="915988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defTabSz="915988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1825625" defTabSz="915988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282825" defTabSz="91598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740025" defTabSz="91598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197225" defTabSz="91598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654425" defTabSz="91598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fr-FR" altLang="fr-FR" sz="1000" dirty="0"/>
                <a:t>B.23</a:t>
              </a:r>
              <a:endParaRPr lang="fr-FR" altLang="fr-FR" sz="1100" dirty="0"/>
            </a:p>
          </p:txBody>
        </p:sp>
      </p:grpSp>
    </p:spTree>
    <p:extLst>
      <p:ext uri="{BB962C8B-B14F-4D97-AF65-F5344CB8AC3E}">
        <p14:creationId xmlns:p14="http://schemas.microsoft.com/office/powerpoint/2010/main" val="2239921501"/>
      </p:ext>
    </p:extLst>
  </p:cSld>
  <p:clrMapOvr>
    <a:masterClrMapping/>
  </p:clrMapOvr>
  <p:transition>
    <p:randomBar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numéro de diapositive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C607431D-BF1C-462F-AC1E-49EC7DE49455}" type="slidenum">
              <a:rPr lang="en-GB" altLang="fr-FR"/>
              <a:pPr/>
              <a:t>23</a:t>
            </a:fld>
            <a:endParaRPr lang="en-GB" altLang="fr-FR" dirty="0"/>
          </a:p>
        </p:txBody>
      </p:sp>
      <p:grpSp>
        <p:nvGrpSpPr>
          <p:cNvPr id="457730" name="Group 2"/>
          <p:cNvGrpSpPr>
            <a:grpSpLocks/>
          </p:cNvGrpSpPr>
          <p:nvPr/>
        </p:nvGrpSpPr>
        <p:grpSpPr bwMode="auto">
          <a:xfrm>
            <a:off x="1524000" y="304800"/>
            <a:ext cx="9144000" cy="6502400"/>
            <a:chOff x="0" y="192"/>
            <a:chExt cx="5760" cy="4096"/>
          </a:xfrm>
        </p:grpSpPr>
        <p:pic>
          <p:nvPicPr>
            <p:cNvPr id="457731" name="Picture 3" descr="PASENFON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6" y="436"/>
              <a:ext cx="4560" cy="34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aphicFrame>
          <p:nvGraphicFramePr>
            <p:cNvPr id="457732" name="Picture 1"/>
            <p:cNvGraphicFramePr>
              <a:graphicFrameLocks noChangeAspect="1"/>
            </p:cNvGraphicFramePr>
            <p:nvPr/>
          </p:nvGraphicFramePr>
          <p:xfrm>
            <a:off x="4800" y="3556"/>
            <a:ext cx="150" cy="14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098" name="Image Bitmap" r:id="rId5" imgW="1400000" imgH="1400000" progId="Paint.Picture">
                    <p:embed/>
                  </p:oleObj>
                </mc:Choice>
                <mc:Fallback>
                  <p:oleObj name="Image Bitmap" r:id="rId5" imgW="1400000" imgH="1400000" progId="Paint.Picture">
                    <p:embed/>
                    <p:pic>
                      <p:nvPicPr>
                        <p:cNvPr id="457732" name="Picture 1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6">
                          <a:clrChange>
                            <a:clrFrom>
                              <a:srgbClr val="FFFFFF"/>
                            </a:clrFrom>
                            <a:clrTo>
                              <a:srgbClr val="FFFFFF">
                                <a:alpha val="0"/>
                              </a:srgbClr>
                            </a:clrTo>
                          </a:clrChange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4800" y="3556"/>
                          <a:ext cx="150" cy="146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0">
                              <a:solidFill>
                                <a:srgbClr val="FFFFFF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457733" name="Picture 1"/>
            <p:cNvGraphicFramePr>
              <a:graphicFrameLocks noChangeAspect="1"/>
            </p:cNvGraphicFramePr>
            <p:nvPr/>
          </p:nvGraphicFramePr>
          <p:xfrm>
            <a:off x="720" y="530"/>
            <a:ext cx="150" cy="14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099" name="Image Bitmap" r:id="rId7" imgW="1400000" imgH="1400000" progId="Paint.Picture">
                    <p:embed/>
                  </p:oleObj>
                </mc:Choice>
                <mc:Fallback>
                  <p:oleObj name="Image Bitmap" r:id="rId7" imgW="1400000" imgH="1400000" progId="Paint.Picture">
                    <p:embed/>
                    <p:pic>
                      <p:nvPicPr>
                        <p:cNvPr id="457733" name="Picture 1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6">
                          <a:clrChange>
                            <a:clrFrom>
                              <a:srgbClr val="FFFFFF"/>
                            </a:clrFrom>
                            <a:clrTo>
                              <a:srgbClr val="FFFFFF">
                                <a:alpha val="0"/>
                              </a:srgbClr>
                            </a:clrTo>
                          </a:clrChange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20" y="530"/>
                          <a:ext cx="150" cy="146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0">
                              <a:solidFill>
                                <a:srgbClr val="FFFFFF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457734" name="Text Box 6"/>
            <p:cNvSpPr txBox="1">
              <a:spLocks noChangeArrowheads="1"/>
            </p:cNvSpPr>
            <p:nvPr/>
          </p:nvSpPr>
          <p:spPr bwMode="auto">
            <a:xfrm>
              <a:off x="0" y="192"/>
              <a:ext cx="5760" cy="3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74264" tIns="87137" rIns="174264" bIns="87137">
              <a:spAutoFit/>
            </a:bodyPr>
            <a:lstStyle>
              <a:lvl1pPr defTabSz="915988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defTabSz="915988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915988" defTabSz="915988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defTabSz="915988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1825625" defTabSz="915988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282825" defTabSz="91598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740025" defTabSz="91598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197225" defTabSz="91598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654425" defTabSz="91598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fr-FR" sz="2500" b="1" dirty="0">
                  <a:solidFill>
                    <a:schemeClr val="accent2"/>
                  </a:solidFill>
                  <a:latin typeface="Courier New" pitchFamily="49" charset="0"/>
                </a:rPr>
                <a:t>Enfoncement faible</a:t>
              </a:r>
            </a:p>
          </p:txBody>
        </p:sp>
        <p:sp>
          <p:nvSpPr>
            <p:cNvPr id="457735" name="Text Box 7"/>
            <p:cNvSpPr txBox="1">
              <a:spLocks noChangeArrowheads="1"/>
            </p:cNvSpPr>
            <p:nvPr/>
          </p:nvSpPr>
          <p:spPr bwMode="auto">
            <a:xfrm>
              <a:off x="4273" y="4082"/>
              <a:ext cx="1104" cy="20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74264" tIns="87137" rIns="174264" bIns="87137">
              <a:spAutoFit/>
            </a:bodyPr>
            <a:lstStyle>
              <a:lvl1pPr defTabSz="915988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defTabSz="915988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915988" defTabSz="915988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defTabSz="915988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1825625" defTabSz="915988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282825" defTabSz="91598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740025" defTabSz="91598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197225" defTabSz="91598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654425" defTabSz="91598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fr-FR" altLang="fr-FR" sz="1000" dirty="0"/>
                <a:t>B.21</a:t>
              </a:r>
              <a:endParaRPr lang="fr-FR" altLang="fr-FR" sz="1100" dirty="0"/>
            </a:p>
          </p:txBody>
        </p:sp>
      </p:grpSp>
    </p:spTree>
    <p:extLst>
      <p:ext uri="{BB962C8B-B14F-4D97-AF65-F5344CB8AC3E}">
        <p14:creationId xmlns:p14="http://schemas.microsoft.com/office/powerpoint/2010/main" val="3598050645"/>
      </p:ext>
    </p:extLst>
  </p:cSld>
  <p:clrMapOvr>
    <a:masterClrMapping/>
  </p:clrMapOvr>
  <p:transition>
    <p:randomBar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numéro de diapositive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9EA5AFFD-9F37-4DE7-8168-B65BF35BA539}" type="slidenum">
              <a:rPr lang="en-GB" altLang="fr-FR"/>
              <a:pPr/>
              <a:t>24</a:t>
            </a:fld>
            <a:endParaRPr lang="en-GB" altLang="fr-FR" dirty="0"/>
          </a:p>
        </p:txBody>
      </p:sp>
      <p:grpSp>
        <p:nvGrpSpPr>
          <p:cNvPr id="458754" name="Group 2"/>
          <p:cNvGrpSpPr>
            <a:grpSpLocks/>
          </p:cNvGrpSpPr>
          <p:nvPr/>
        </p:nvGrpSpPr>
        <p:grpSpPr bwMode="auto">
          <a:xfrm>
            <a:off x="1524000" y="384175"/>
            <a:ext cx="9144000" cy="5845175"/>
            <a:chOff x="0" y="242"/>
            <a:chExt cx="5760" cy="3682"/>
          </a:xfrm>
        </p:grpSpPr>
        <p:pic>
          <p:nvPicPr>
            <p:cNvPr id="458755" name="Picture 3" descr="BEIENFON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4" y="472"/>
              <a:ext cx="4608" cy="34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aphicFrame>
          <p:nvGraphicFramePr>
            <p:cNvPr id="458756" name="Picture 1"/>
            <p:cNvGraphicFramePr>
              <a:graphicFrameLocks noChangeAspect="1"/>
            </p:cNvGraphicFramePr>
            <p:nvPr/>
          </p:nvGraphicFramePr>
          <p:xfrm>
            <a:off x="4896" y="3650"/>
            <a:ext cx="150" cy="14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4122" name="Image Bitmap" r:id="rId5" imgW="1400000" imgH="1400000" progId="Paint.Picture">
                    <p:embed/>
                  </p:oleObj>
                </mc:Choice>
                <mc:Fallback>
                  <p:oleObj name="Image Bitmap" r:id="rId5" imgW="1400000" imgH="1400000" progId="Paint.Picture">
                    <p:embed/>
                    <p:pic>
                      <p:nvPicPr>
                        <p:cNvPr id="458756" name="Picture 1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6">
                          <a:clrChange>
                            <a:clrFrom>
                              <a:srgbClr val="FFFFFF"/>
                            </a:clrFrom>
                            <a:clrTo>
                              <a:srgbClr val="FFFFFF">
                                <a:alpha val="0"/>
                              </a:srgbClr>
                            </a:clrTo>
                          </a:clrChange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4896" y="3650"/>
                          <a:ext cx="150" cy="146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0">
                              <a:solidFill>
                                <a:srgbClr val="FFFFFF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458757" name="Picture 1"/>
            <p:cNvGraphicFramePr>
              <a:graphicFrameLocks noChangeAspect="1"/>
            </p:cNvGraphicFramePr>
            <p:nvPr/>
          </p:nvGraphicFramePr>
          <p:xfrm>
            <a:off x="768" y="626"/>
            <a:ext cx="150" cy="14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4123" name="Image Bitmap" r:id="rId7" imgW="1400000" imgH="1400000" progId="Paint.Picture">
                    <p:embed/>
                  </p:oleObj>
                </mc:Choice>
                <mc:Fallback>
                  <p:oleObj name="Image Bitmap" r:id="rId7" imgW="1400000" imgH="1400000" progId="Paint.Picture">
                    <p:embed/>
                    <p:pic>
                      <p:nvPicPr>
                        <p:cNvPr id="458757" name="Picture 1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6">
                          <a:clrChange>
                            <a:clrFrom>
                              <a:srgbClr val="FFFFFF"/>
                            </a:clrFrom>
                            <a:clrTo>
                              <a:srgbClr val="FFFFFF">
                                <a:alpha val="0"/>
                              </a:srgbClr>
                            </a:clrTo>
                          </a:clrChange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68" y="626"/>
                          <a:ext cx="150" cy="146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0">
                              <a:solidFill>
                                <a:srgbClr val="FFFFFF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458758" name="Text Box 6"/>
            <p:cNvSpPr txBox="1">
              <a:spLocks noChangeArrowheads="1"/>
            </p:cNvSpPr>
            <p:nvPr/>
          </p:nvSpPr>
          <p:spPr bwMode="auto">
            <a:xfrm>
              <a:off x="0" y="242"/>
              <a:ext cx="5760" cy="2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7821" tIns="23909" rIns="47821" bIns="23909">
              <a:spAutoFit/>
            </a:bodyPr>
            <a:lstStyle>
              <a:lvl1pPr defTabSz="915988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defTabSz="915988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915988" defTabSz="915988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defTabSz="915988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1825625" defTabSz="915988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282825" defTabSz="91598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740025" defTabSz="91598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197225" defTabSz="91598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654425" defTabSz="915988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fr-FR" sz="2500" b="1" dirty="0">
                  <a:solidFill>
                    <a:schemeClr val="accent2"/>
                  </a:solidFill>
                  <a:latin typeface="Courier New" pitchFamily="49" charset="0"/>
                </a:rPr>
                <a:t>Bon enfoncement</a:t>
              </a:r>
              <a:endParaRPr lang="en-US" altLang="fr-FR" sz="2500" b="1" dirty="0">
                <a:solidFill>
                  <a:schemeClr val="accent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31925403"/>
      </p:ext>
    </p:extLst>
  </p:cSld>
  <p:clrMapOvr>
    <a:masterClrMapping/>
  </p:clrMapOvr>
  <p:transition>
    <p:randomBar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Espace réservé du numéro de diapositive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53921C8F-3471-4E8D-817B-F8129A1E3C4A}" type="slidenum">
              <a:rPr lang="en-GB" altLang="fr-FR"/>
              <a:pPr/>
              <a:t>25</a:t>
            </a:fld>
            <a:endParaRPr lang="en-GB" altLang="fr-FR" dirty="0"/>
          </a:p>
        </p:txBody>
      </p:sp>
      <p:grpSp>
        <p:nvGrpSpPr>
          <p:cNvPr id="460802" name="Group 2"/>
          <p:cNvGrpSpPr>
            <a:grpSpLocks/>
          </p:cNvGrpSpPr>
          <p:nvPr/>
        </p:nvGrpSpPr>
        <p:grpSpPr bwMode="auto">
          <a:xfrm>
            <a:off x="1524001" y="501651"/>
            <a:ext cx="9447213" cy="5807669"/>
            <a:chOff x="0" y="316"/>
            <a:chExt cx="5950" cy="3812"/>
          </a:xfrm>
        </p:grpSpPr>
        <p:sp>
          <p:nvSpPr>
            <p:cNvPr id="460803" name="Oval 3"/>
            <p:cNvSpPr>
              <a:spLocks noChangeArrowheads="1"/>
            </p:cNvSpPr>
            <p:nvPr/>
          </p:nvSpPr>
          <p:spPr bwMode="auto">
            <a:xfrm>
              <a:off x="2092" y="2112"/>
              <a:ext cx="1392" cy="139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fr-FR" dirty="0"/>
            </a:p>
          </p:txBody>
        </p:sp>
        <p:sp>
          <p:nvSpPr>
            <p:cNvPr id="460804" name="Freeform 4" descr="Papier journal"/>
            <p:cNvSpPr>
              <a:spLocks/>
            </p:cNvSpPr>
            <p:nvPr/>
          </p:nvSpPr>
          <p:spPr bwMode="auto">
            <a:xfrm>
              <a:off x="2783" y="2726"/>
              <a:ext cx="3167" cy="1059"/>
            </a:xfrm>
            <a:custGeom>
              <a:avLst/>
              <a:gdLst>
                <a:gd name="T0" fmla="*/ 65 w 3167"/>
                <a:gd name="T1" fmla="*/ 1030 h 1059"/>
                <a:gd name="T2" fmla="*/ 2501 w 3167"/>
                <a:gd name="T3" fmla="*/ 1018 h 1059"/>
                <a:gd name="T4" fmla="*/ 2981 w 3167"/>
                <a:gd name="T5" fmla="*/ 982 h 1059"/>
                <a:gd name="T6" fmla="*/ 3002 w 3167"/>
                <a:gd name="T7" fmla="*/ 556 h 1059"/>
                <a:gd name="T8" fmla="*/ 3001 w 3167"/>
                <a:gd name="T9" fmla="*/ 279 h 1059"/>
                <a:gd name="T10" fmla="*/ 2993 w 3167"/>
                <a:gd name="T11" fmla="*/ 154 h 1059"/>
                <a:gd name="T12" fmla="*/ 2849 w 3167"/>
                <a:gd name="T13" fmla="*/ 166 h 1059"/>
                <a:gd name="T14" fmla="*/ 1085 w 3167"/>
                <a:gd name="T15" fmla="*/ 154 h 1059"/>
                <a:gd name="T16" fmla="*/ 809 w 3167"/>
                <a:gd name="T17" fmla="*/ 118 h 1059"/>
                <a:gd name="T18" fmla="*/ 742 w 3167"/>
                <a:gd name="T19" fmla="*/ 54 h 1059"/>
                <a:gd name="T20" fmla="*/ 703 w 3167"/>
                <a:gd name="T21" fmla="*/ 10 h 1059"/>
                <a:gd name="T22" fmla="*/ 708 w 3167"/>
                <a:gd name="T23" fmla="*/ 45 h 1059"/>
                <a:gd name="T24" fmla="*/ 709 w 3167"/>
                <a:gd name="T25" fmla="*/ 148 h 1059"/>
                <a:gd name="T26" fmla="*/ 707 w 3167"/>
                <a:gd name="T27" fmla="*/ 202 h 1059"/>
                <a:gd name="T28" fmla="*/ 653 w 3167"/>
                <a:gd name="T29" fmla="*/ 370 h 1059"/>
                <a:gd name="T30" fmla="*/ 613 w 3167"/>
                <a:gd name="T31" fmla="*/ 444 h 1059"/>
                <a:gd name="T32" fmla="*/ 538 w 3167"/>
                <a:gd name="T33" fmla="*/ 547 h 1059"/>
                <a:gd name="T34" fmla="*/ 453 w 3167"/>
                <a:gd name="T35" fmla="*/ 631 h 1059"/>
                <a:gd name="T36" fmla="*/ 359 w 3167"/>
                <a:gd name="T37" fmla="*/ 694 h 1059"/>
                <a:gd name="T38" fmla="*/ 291 w 3167"/>
                <a:gd name="T39" fmla="*/ 729 h 1059"/>
                <a:gd name="T40" fmla="*/ 119 w 3167"/>
                <a:gd name="T41" fmla="*/ 778 h 1059"/>
                <a:gd name="T42" fmla="*/ 17 w 3167"/>
                <a:gd name="T43" fmla="*/ 802 h 1059"/>
                <a:gd name="T44" fmla="*/ 16 w 3167"/>
                <a:gd name="T45" fmla="*/ 873 h 1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67" h="1059">
                  <a:moveTo>
                    <a:pt x="65" y="1030"/>
                  </a:moveTo>
                  <a:cubicBezTo>
                    <a:pt x="506" y="1036"/>
                    <a:pt x="2015" y="1026"/>
                    <a:pt x="2501" y="1018"/>
                  </a:cubicBezTo>
                  <a:cubicBezTo>
                    <a:pt x="2987" y="1010"/>
                    <a:pt x="2898" y="1059"/>
                    <a:pt x="2981" y="982"/>
                  </a:cubicBezTo>
                  <a:cubicBezTo>
                    <a:pt x="2980" y="923"/>
                    <a:pt x="3002" y="601"/>
                    <a:pt x="3002" y="556"/>
                  </a:cubicBezTo>
                  <a:cubicBezTo>
                    <a:pt x="3002" y="510"/>
                    <a:pt x="3005" y="322"/>
                    <a:pt x="3001" y="279"/>
                  </a:cubicBezTo>
                  <a:cubicBezTo>
                    <a:pt x="3006" y="212"/>
                    <a:pt x="2997" y="259"/>
                    <a:pt x="2993" y="154"/>
                  </a:cubicBezTo>
                  <a:cubicBezTo>
                    <a:pt x="2930" y="157"/>
                    <a:pt x="3167" y="166"/>
                    <a:pt x="2849" y="166"/>
                  </a:cubicBezTo>
                  <a:cubicBezTo>
                    <a:pt x="2531" y="166"/>
                    <a:pt x="1425" y="162"/>
                    <a:pt x="1085" y="154"/>
                  </a:cubicBezTo>
                  <a:cubicBezTo>
                    <a:pt x="745" y="146"/>
                    <a:pt x="866" y="135"/>
                    <a:pt x="809" y="118"/>
                  </a:cubicBezTo>
                  <a:cubicBezTo>
                    <a:pt x="752" y="101"/>
                    <a:pt x="756" y="67"/>
                    <a:pt x="742" y="54"/>
                  </a:cubicBezTo>
                  <a:cubicBezTo>
                    <a:pt x="717" y="40"/>
                    <a:pt x="709" y="11"/>
                    <a:pt x="703" y="10"/>
                  </a:cubicBezTo>
                  <a:cubicBezTo>
                    <a:pt x="698" y="0"/>
                    <a:pt x="705" y="22"/>
                    <a:pt x="708" y="45"/>
                  </a:cubicBezTo>
                  <a:cubicBezTo>
                    <a:pt x="709" y="68"/>
                    <a:pt x="709" y="122"/>
                    <a:pt x="709" y="148"/>
                  </a:cubicBezTo>
                  <a:cubicBezTo>
                    <a:pt x="709" y="174"/>
                    <a:pt x="716" y="165"/>
                    <a:pt x="707" y="202"/>
                  </a:cubicBezTo>
                  <a:cubicBezTo>
                    <a:pt x="698" y="239"/>
                    <a:pt x="669" y="330"/>
                    <a:pt x="653" y="370"/>
                  </a:cubicBezTo>
                  <a:cubicBezTo>
                    <a:pt x="637" y="410"/>
                    <a:pt x="632" y="415"/>
                    <a:pt x="613" y="444"/>
                  </a:cubicBezTo>
                  <a:cubicBezTo>
                    <a:pt x="594" y="473"/>
                    <a:pt x="565" y="516"/>
                    <a:pt x="538" y="547"/>
                  </a:cubicBezTo>
                  <a:cubicBezTo>
                    <a:pt x="495" y="590"/>
                    <a:pt x="500" y="593"/>
                    <a:pt x="453" y="631"/>
                  </a:cubicBezTo>
                  <a:cubicBezTo>
                    <a:pt x="426" y="654"/>
                    <a:pt x="386" y="678"/>
                    <a:pt x="359" y="694"/>
                  </a:cubicBezTo>
                  <a:cubicBezTo>
                    <a:pt x="332" y="710"/>
                    <a:pt x="331" y="715"/>
                    <a:pt x="291" y="729"/>
                  </a:cubicBezTo>
                  <a:cubicBezTo>
                    <a:pt x="240" y="747"/>
                    <a:pt x="164" y="766"/>
                    <a:pt x="119" y="778"/>
                  </a:cubicBezTo>
                  <a:cubicBezTo>
                    <a:pt x="74" y="790"/>
                    <a:pt x="34" y="786"/>
                    <a:pt x="17" y="802"/>
                  </a:cubicBezTo>
                  <a:cubicBezTo>
                    <a:pt x="0" y="818"/>
                    <a:pt x="16" y="858"/>
                    <a:pt x="16" y="873"/>
                  </a:cubicBezTo>
                </a:path>
              </a:pathLst>
            </a:custGeom>
            <a:blipFill dpi="0" rotWithShape="0">
              <a:blip r:embed="rId3"/>
              <a:srcRect/>
              <a:tile tx="0" ty="0" sx="100000" sy="100000" flip="none" algn="tl"/>
            </a:blipFill>
            <a:ln w="9525" cap="flat" cmpd="sng">
              <a:solidFill>
                <a:srgbClr val="EAEAEA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fr-FR" dirty="0"/>
            </a:p>
          </p:txBody>
        </p:sp>
        <p:sp>
          <p:nvSpPr>
            <p:cNvPr id="460805" name="Freeform 5" descr="Papier journal"/>
            <p:cNvSpPr>
              <a:spLocks/>
            </p:cNvSpPr>
            <p:nvPr/>
          </p:nvSpPr>
          <p:spPr bwMode="auto">
            <a:xfrm>
              <a:off x="0" y="2736"/>
              <a:ext cx="3315" cy="1029"/>
            </a:xfrm>
            <a:custGeom>
              <a:avLst/>
              <a:gdLst>
                <a:gd name="T0" fmla="*/ 55 w 3315"/>
                <a:gd name="T1" fmla="*/ 162 h 1029"/>
                <a:gd name="T2" fmla="*/ 1795 w 3315"/>
                <a:gd name="T3" fmla="*/ 150 h 1029"/>
                <a:gd name="T4" fmla="*/ 2086 w 3315"/>
                <a:gd name="T5" fmla="*/ 0 h 1029"/>
                <a:gd name="T6" fmla="*/ 2080 w 3315"/>
                <a:gd name="T7" fmla="*/ 48 h 1029"/>
                <a:gd name="T8" fmla="*/ 2081 w 3315"/>
                <a:gd name="T9" fmla="*/ 128 h 1029"/>
                <a:gd name="T10" fmla="*/ 2094 w 3315"/>
                <a:gd name="T11" fmla="*/ 218 h 1029"/>
                <a:gd name="T12" fmla="*/ 2117 w 3315"/>
                <a:gd name="T13" fmla="*/ 287 h 1029"/>
                <a:gd name="T14" fmla="*/ 2140 w 3315"/>
                <a:gd name="T15" fmla="*/ 360 h 1029"/>
                <a:gd name="T16" fmla="*/ 2184 w 3315"/>
                <a:gd name="T17" fmla="*/ 437 h 1029"/>
                <a:gd name="T18" fmla="*/ 2232 w 3315"/>
                <a:gd name="T19" fmla="*/ 500 h 1029"/>
                <a:gd name="T20" fmla="*/ 2260 w 3315"/>
                <a:gd name="T21" fmla="*/ 540 h 1029"/>
                <a:gd name="T22" fmla="*/ 2290 w 3315"/>
                <a:gd name="T23" fmla="*/ 576 h 1029"/>
                <a:gd name="T24" fmla="*/ 2336 w 3315"/>
                <a:gd name="T25" fmla="*/ 609 h 1029"/>
                <a:gd name="T26" fmla="*/ 2374 w 3315"/>
                <a:gd name="T27" fmla="*/ 642 h 1029"/>
                <a:gd name="T28" fmla="*/ 2416 w 3315"/>
                <a:gd name="T29" fmla="*/ 666 h 1029"/>
                <a:gd name="T30" fmla="*/ 2476 w 3315"/>
                <a:gd name="T31" fmla="*/ 702 h 1029"/>
                <a:gd name="T32" fmla="*/ 2548 w 3315"/>
                <a:gd name="T33" fmla="*/ 738 h 1029"/>
                <a:gd name="T34" fmla="*/ 2595 w 3315"/>
                <a:gd name="T35" fmla="*/ 749 h 1029"/>
                <a:gd name="T36" fmla="*/ 2643 w 3315"/>
                <a:gd name="T37" fmla="*/ 758 h 1029"/>
                <a:gd name="T38" fmla="*/ 2672 w 3315"/>
                <a:gd name="T39" fmla="*/ 767 h 1029"/>
                <a:gd name="T40" fmla="*/ 2718 w 3315"/>
                <a:gd name="T41" fmla="*/ 777 h 1029"/>
                <a:gd name="T42" fmla="*/ 2686 w 3315"/>
                <a:gd name="T43" fmla="*/ 792 h 1029"/>
                <a:gd name="T44" fmla="*/ 2830 w 3315"/>
                <a:gd name="T45" fmla="*/ 792 h 1029"/>
                <a:gd name="T46" fmla="*/ 2851 w 3315"/>
                <a:gd name="T47" fmla="*/ 990 h 1029"/>
                <a:gd name="T48" fmla="*/ 46 w 3315"/>
                <a:gd name="T49" fmla="*/ 996 h 1029"/>
                <a:gd name="T50" fmla="*/ 40 w 3315"/>
                <a:gd name="T51" fmla="*/ 780 h 1029"/>
                <a:gd name="T52" fmla="*/ 34 w 3315"/>
                <a:gd name="T53" fmla="*/ 702 h 1029"/>
                <a:gd name="T54" fmla="*/ 34 w 3315"/>
                <a:gd name="T55" fmla="*/ 516 h 1029"/>
                <a:gd name="T56" fmla="*/ 28 w 3315"/>
                <a:gd name="T57" fmla="*/ 376 h 1029"/>
                <a:gd name="T58" fmla="*/ 55 w 3315"/>
                <a:gd name="T59" fmla="*/ 162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315" h="1029">
                  <a:moveTo>
                    <a:pt x="55" y="162"/>
                  </a:moveTo>
                  <a:cubicBezTo>
                    <a:pt x="355" y="174"/>
                    <a:pt x="1027" y="150"/>
                    <a:pt x="1795" y="150"/>
                  </a:cubicBezTo>
                  <a:cubicBezTo>
                    <a:pt x="1999" y="138"/>
                    <a:pt x="2005" y="72"/>
                    <a:pt x="2086" y="0"/>
                  </a:cubicBezTo>
                  <a:cubicBezTo>
                    <a:pt x="2088" y="55"/>
                    <a:pt x="2079" y="26"/>
                    <a:pt x="2080" y="48"/>
                  </a:cubicBezTo>
                  <a:cubicBezTo>
                    <a:pt x="2079" y="69"/>
                    <a:pt x="2079" y="100"/>
                    <a:pt x="2081" y="128"/>
                  </a:cubicBezTo>
                  <a:cubicBezTo>
                    <a:pt x="2083" y="152"/>
                    <a:pt x="2090" y="191"/>
                    <a:pt x="2094" y="218"/>
                  </a:cubicBezTo>
                  <a:cubicBezTo>
                    <a:pt x="2100" y="244"/>
                    <a:pt x="2109" y="263"/>
                    <a:pt x="2117" y="287"/>
                  </a:cubicBezTo>
                  <a:cubicBezTo>
                    <a:pt x="2121" y="302"/>
                    <a:pt x="2131" y="335"/>
                    <a:pt x="2140" y="360"/>
                  </a:cubicBezTo>
                  <a:cubicBezTo>
                    <a:pt x="2151" y="385"/>
                    <a:pt x="2169" y="414"/>
                    <a:pt x="2184" y="437"/>
                  </a:cubicBezTo>
                  <a:cubicBezTo>
                    <a:pt x="2199" y="460"/>
                    <a:pt x="2219" y="483"/>
                    <a:pt x="2232" y="500"/>
                  </a:cubicBezTo>
                  <a:cubicBezTo>
                    <a:pt x="2244" y="536"/>
                    <a:pt x="2250" y="527"/>
                    <a:pt x="2260" y="540"/>
                  </a:cubicBezTo>
                  <a:cubicBezTo>
                    <a:pt x="2270" y="553"/>
                    <a:pt x="2277" y="565"/>
                    <a:pt x="2290" y="576"/>
                  </a:cubicBezTo>
                  <a:cubicBezTo>
                    <a:pt x="2303" y="594"/>
                    <a:pt x="2322" y="598"/>
                    <a:pt x="2336" y="609"/>
                  </a:cubicBezTo>
                  <a:cubicBezTo>
                    <a:pt x="2350" y="620"/>
                    <a:pt x="2361" y="632"/>
                    <a:pt x="2374" y="642"/>
                  </a:cubicBezTo>
                  <a:cubicBezTo>
                    <a:pt x="2387" y="652"/>
                    <a:pt x="2399" y="656"/>
                    <a:pt x="2416" y="666"/>
                  </a:cubicBezTo>
                  <a:cubicBezTo>
                    <a:pt x="2425" y="685"/>
                    <a:pt x="2460" y="686"/>
                    <a:pt x="2476" y="702"/>
                  </a:cubicBezTo>
                  <a:cubicBezTo>
                    <a:pt x="2495" y="720"/>
                    <a:pt x="2523" y="728"/>
                    <a:pt x="2548" y="738"/>
                  </a:cubicBezTo>
                  <a:cubicBezTo>
                    <a:pt x="2548" y="738"/>
                    <a:pt x="2577" y="741"/>
                    <a:pt x="2595" y="749"/>
                  </a:cubicBezTo>
                  <a:cubicBezTo>
                    <a:pt x="2611" y="756"/>
                    <a:pt x="2633" y="754"/>
                    <a:pt x="2643" y="758"/>
                  </a:cubicBezTo>
                  <a:cubicBezTo>
                    <a:pt x="2656" y="761"/>
                    <a:pt x="2660" y="764"/>
                    <a:pt x="2672" y="767"/>
                  </a:cubicBezTo>
                  <a:cubicBezTo>
                    <a:pt x="2689" y="771"/>
                    <a:pt x="2716" y="773"/>
                    <a:pt x="2718" y="777"/>
                  </a:cubicBezTo>
                  <a:cubicBezTo>
                    <a:pt x="2720" y="781"/>
                    <a:pt x="2667" y="790"/>
                    <a:pt x="2686" y="792"/>
                  </a:cubicBezTo>
                  <a:cubicBezTo>
                    <a:pt x="2705" y="794"/>
                    <a:pt x="2803" y="759"/>
                    <a:pt x="2830" y="792"/>
                  </a:cubicBezTo>
                  <a:cubicBezTo>
                    <a:pt x="2857" y="825"/>
                    <a:pt x="3315" y="956"/>
                    <a:pt x="2851" y="990"/>
                  </a:cubicBezTo>
                  <a:cubicBezTo>
                    <a:pt x="2389" y="1004"/>
                    <a:pt x="514" y="1029"/>
                    <a:pt x="46" y="996"/>
                  </a:cubicBezTo>
                  <a:cubicBezTo>
                    <a:pt x="0" y="995"/>
                    <a:pt x="39" y="829"/>
                    <a:pt x="40" y="780"/>
                  </a:cubicBezTo>
                  <a:lnTo>
                    <a:pt x="34" y="702"/>
                  </a:lnTo>
                  <a:cubicBezTo>
                    <a:pt x="33" y="658"/>
                    <a:pt x="35" y="570"/>
                    <a:pt x="34" y="516"/>
                  </a:cubicBezTo>
                  <a:cubicBezTo>
                    <a:pt x="34" y="406"/>
                    <a:pt x="28" y="426"/>
                    <a:pt x="28" y="376"/>
                  </a:cubicBezTo>
                  <a:cubicBezTo>
                    <a:pt x="28" y="297"/>
                    <a:pt x="31" y="234"/>
                    <a:pt x="55" y="162"/>
                  </a:cubicBezTo>
                  <a:close/>
                </a:path>
              </a:pathLst>
            </a:custGeom>
            <a:blipFill dpi="0" rotWithShape="0">
              <a:blip r:embed="rId3"/>
              <a:srcRect/>
              <a:tile tx="0" ty="0" sx="100000" sy="100000" flip="none" algn="tl"/>
            </a:blipFill>
            <a:ln w="9525" cap="flat" cmpd="sng">
              <a:solidFill>
                <a:srgbClr val="EAEAEA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fr-FR" dirty="0"/>
            </a:p>
          </p:txBody>
        </p:sp>
        <p:sp>
          <p:nvSpPr>
            <p:cNvPr id="460806" name="Line 6"/>
            <p:cNvSpPr>
              <a:spLocks noChangeShapeType="1"/>
            </p:cNvSpPr>
            <p:nvPr/>
          </p:nvSpPr>
          <p:spPr bwMode="auto">
            <a:xfrm>
              <a:off x="28" y="2736"/>
              <a:ext cx="2064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prstDash val="dash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fr-FR" dirty="0"/>
            </a:p>
          </p:txBody>
        </p:sp>
        <p:sp>
          <p:nvSpPr>
            <p:cNvPr id="460807" name="Freeform 7"/>
            <p:cNvSpPr>
              <a:spLocks/>
            </p:cNvSpPr>
            <p:nvPr/>
          </p:nvSpPr>
          <p:spPr bwMode="auto">
            <a:xfrm>
              <a:off x="3483" y="2735"/>
              <a:ext cx="2289" cy="2"/>
            </a:xfrm>
            <a:custGeom>
              <a:avLst/>
              <a:gdLst>
                <a:gd name="T0" fmla="*/ 0 w 2289"/>
                <a:gd name="T1" fmla="*/ 0 h 2"/>
                <a:gd name="T2" fmla="*/ 2289 w 2289"/>
                <a:gd name="T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289" h="2">
                  <a:moveTo>
                    <a:pt x="0" y="0"/>
                  </a:moveTo>
                  <a:lnTo>
                    <a:pt x="2289" y="2"/>
                  </a:lnTo>
                </a:path>
              </a:pathLst>
            </a:custGeom>
            <a:noFill/>
            <a:ln w="9525" cap="flat">
              <a:solidFill>
                <a:schemeClr val="tx1"/>
              </a:solidFill>
              <a:prstDash val="dash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fr-FR" dirty="0"/>
            </a:p>
          </p:txBody>
        </p:sp>
        <p:sp>
          <p:nvSpPr>
            <p:cNvPr id="460808" name="Text Box 8"/>
            <p:cNvSpPr txBox="1">
              <a:spLocks noChangeArrowheads="1"/>
            </p:cNvSpPr>
            <p:nvPr/>
          </p:nvSpPr>
          <p:spPr bwMode="auto">
            <a:xfrm>
              <a:off x="1745" y="316"/>
              <a:ext cx="2336" cy="2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00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altLang="fr-FR" b="1" dirty="0">
                  <a:solidFill>
                    <a:schemeClr val="accent2"/>
                  </a:solidFill>
                  <a:latin typeface="Cooper Md BT" pitchFamily="18" charset="0"/>
                </a:rPr>
                <a:t>Liaison bille – produit de marquage</a:t>
              </a:r>
              <a:endParaRPr lang="en-GB" altLang="fr-FR" dirty="0">
                <a:latin typeface="Times New Roman" pitchFamily="18" charset="0"/>
              </a:endParaRPr>
            </a:p>
          </p:txBody>
        </p:sp>
        <p:sp>
          <p:nvSpPr>
            <p:cNvPr id="460809" name="Rectangle 9" descr="Granit"/>
            <p:cNvSpPr>
              <a:spLocks noChangeArrowheads="1"/>
            </p:cNvSpPr>
            <p:nvPr/>
          </p:nvSpPr>
          <p:spPr bwMode="auto">
            <a:xfrm>
              <a:off x="0" y="3744"/>
              <a:ext cx="5760" cy="384"/>
            </a:xfrm>
            <a:prstGeom prst="rect">
              <a:avLst/>
            </a:prstGeom>
            <a:blipFill dpi="0" rotWithShape="0">
              <a:blip r:embed="rId4"/>
              <a:srcRect/>
              <a:tile tx="0" ty="0" sx="100000" sy="100000" flip="none" algn="tl"/>
            </a:blipFill>
            <a:ln w="9525">
              <a:solidFill>
                <a:srgbClr val="EAEAEA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fr-FR" dirty="0"/>
            </a:p>
          </p:txBody>
        </p:sp>
        <p:sp>
          <p:nvSpPr>
            <p:cNvPr id="460810" name="Freeform 10"/>
            <p:cNvSpPr>
              <a:spLocks/>
            </p:cNvSpPr>
            <p:nvPr/>
          </p:nvSpPr>
          <p:spPr bwMode="auto">
            <a:xfrm>
              <a:off x="3468" y="2597"/>
              <a:ext cx="366" cy="283"/>
            </a:xfrm>
            <a:custGeom>
              <a:avLst/>
              <a:gdLst>
                <a:gd name="T0" fmla="*/ 0 w 366"/>
                <a:gd name="T1" fmla="*/ 0 h 283"/>
                <a:gd name="T2" fmla="*/ 153 w 366"/>
                <a:gd name="T3" fmla="*/ 184 h 283"/>
                <a:gd name="T4" fmla="*/ 366 w 366"/>
                <a:gd name="T5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66" h="283">
                  <a:moveTo>
                    <a:pt x="0" y="0"/>
                  </a:moveTo>
                  <a:cubicBezTo>
                    <a:pt x="28" y="20"/>
                    <a:pt x="92" y="137"/>
                    <a:pt x="153" y="184"/>
                  </a:cubicBezTo>
                  <a:cubicBezTo>
                    <a:pt x="214" y="231"/>
                    <a:pt x="322" y="263"/>
                    <a:pt x="366" y="283"/>
                  </a:cubicBezTo>
                </a:path>
              </a:pathLst>
            </a:custGeom>
            <a:noFill/>
            <a:ln w="28575" cmpd="sng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fr-FR" dirty="0"/>
            </a:p>
          </p:txBody>
        </p:sp>
        <p:sp>
          <p:nvSpPr>
            <p:cNvPr id="460811" name="Freeform 11"/>
            <p:cNvSpPr>
              <a:spLocks/>
            </p:cNvSpPr>
            <p:nvPr/>
          </p:nvSpPr>
          <p:spPr bwMode="auto">
            <a:xfrm>
              <a:off x="1716" y="2586"/>
              <a:ext cx="414" cy="303"/>
            </a:xfrm>
            <a:custGeom>
              <a:avLst/>
              <a:gdLst>
                <a:gd name="T0" fmla="*/ 0 w 414"/>
                <a:gd name="T1" fmla="*/ 303 h 303"/>
                <a:gd name="T2" fmla="*/ 219 w 414"/>
                <a:gd name="T3" fmla="*/ 198 h 303"/>
                <a:gd name="T4" fmla="*/ 414 w 414"/>
                <a:gd name="T5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14" h="303">
                  <a:moveTo>
                    <a:pt x="0" y="303"/>
                  </a:moveTo>
                  <a:cubicBezTo>
                    <a:pt x="31" y="280"/>
                    <a:pt x="150" y="248"/>
                    <a:pt x="219" y="198"/>
                  </a:cubicBezTo>
                  <a:cubicBezTo>
                    <a:pt x="288" y="148"/>
                    <a:pt x="374" y="41"/>
                    <a:pt x="414" y="0"/>
                  </a:cubicBezTo>
                </a:path>
              </a:pathLst>
            </a:custGeom>
            <a:noFill/>
            <a:ln w="28575" cmpd="sng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fr-FR" dirty="0"/>
            </a:p>
          </p:txBody>
        </p:sp>
        <p:sp>
          <p:nvSpPr>
            <p:cNvPr id="460812" name="Line 12"/>
            <p:cNvSpPr>
              <a:spLocks noChangeShapeType="1"/>
            </p:cNvSpPr>
            <p:nvPr/>
          </p:nvSpPr>
          <p:spPr bwMode="auto">
            <a:xfrm>
              <a:off x="3456" y="2592"/>
              <a:ext cx="2304" cy="0"/>
            </a:xfrm>
            <a:prstGeom prst="line">
              <a:avLst/>
            </a:prstGeom>
            <a:noFill/>
            <a:ln w="952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fr-FR" dirty="0"/>
            </a:p>
          </p:txBody>
        </p:sp>
        <p:sp>
          <p:nvSpPr>
            <p:cNvPr id="460813" name="Line 13"/>
            <p:cNvSpPr>
              <a:spLocks noChangeShapeType="1"/>
            </p:cNvSpPr>
            <p:nvPr/>
          </p:nvSpPr>
          <p:spPr bwMode="auto">
            <a:xfrm flipH="1">
              <a:off x="0" y="2592"/>
              <a:ext cx="2112" cy="0"/>
            </a:xfrm>
            <a:prstGeom prst="line">
              <a:avLst/>
            </a:prstGeom>
            <a:noFill/>
            <a:ln w="952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fr-FR" dirty="0"/>
            </a:p>
          </p:txBody>
        </p:sp>
        <p:sp>
          <p:nvSpPr>
            <p:cNvPr id="460814" name="Text Box 14"/>
            <p:cNvSpPr txBox="1">
              <a:spLocks noChangeArrowheads="1"/>
            </p:cNvSpPr>
            <p:nvPr/>
          </p:nvSpPr>
          <p:spPr bwMode="auto">
            <a:xfrm>
              <a:off x="144" y="2784"/>
              <a:ext cx="864" cy="2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altLang="fr-FR" sz="1100" dirty="0">
                  <a:latin typeface="Cooper Md BT" pitchFamily="18" charset="0"/>
                </a:rPr>
                <a:t>DRY LAYER LEVEL</a:t>
              </a:r>
            </a:p>
          </p:txBody>
        </p:sp>
        <p:sp>
          <p:nvSpPr>
            <p:cNvPr id="460815" name="Text Box 15"/>
            <p:cNvSpPr txBox="1">
              <a:spLocks noChangeArrowheads="1"/>
            </p:cNvSpPr>
            <p:nvPr/>
          </p:nvSpPr>
          <p:spPr bwMode="auto">
            <a:xfrm>
              <a:off x="192" y="2592"/>
              <a:ext cx="960" cy="16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altLang="fr-FR" sz="1100" dirty="0">
                  <a:latin typeface="Cooper Md BT" pitchFamily="18" charset="0"/>
                </a:rPr>
                <a:t>WET LAYER LEVEL</a:t>
              </a:r>
            </a:p>
          </p:txBody>
        </p:sp>
        <p:sp>
          <p:nvSpPr>
            <p:cNvPr id="460816" name="Text Box 16"/>
            <p:cNvSpPr txBox="1">
              <a:spLocks noChangeArrowheads="1"/>
            </p:cNvSpPr>
            <p:nvPr/>
          </p:nvSpPr>
          <p:spPr bwMode="auto">
            <a:xfrm>
              <a:off x="192" y="2448"/>
              <a:ext cx="1152" cy="16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altLang="fr-FR" sz="1100" dirty="0">
                  <a:latin typeface="Cooper Md BT" pitchFamily="18" charset="0"/>
                </a:rPr>
                <a:t>WETTING EFFECT</a:t>
              </a:r>
            </a:p>
          </p:txBody>
        </p:sp>
        <p:sp>
          <p:nvSpPr>
            <p:cNvPr id="460817" name="Text Box 17"/>
            <p:cNvSpPr txBox="1">
              <a:spLocks noChangeArrowheads="1"/>
            </p:cNvSpPr>
            <p:nvPr/>
          </p:nvSpPr>
          <p:spPr bwMode="auto">
            <a:xfrm>
              <a:off x="720" y="3360"/>
              <a:ext cx="912" cy="1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altLang="fr-FR" sz="1400" dirty="0">
                  <a:latin typeface="Cooper Md BT" pitchFamily="18" charset="0"/>
                </a:rPr>
                <a:t>BINDER</a:t>
              </a:r>
            </a:p>
          </p:txBody>
        </p:sp>
        <p:sp>
          <p:nvSpPr>
            <p:cNvPr id="460818" name="Text Box 18"/>
            <p:cNvSpPr txBox="1">
              <a:spLocks noChangeArrowheads="1"/>
            </p:cNvSpPr>
            <p:nvPr/>
          </p:nvSpPr>
          <p:spPr bwMode="auto">
            <a:xfrm>
              <a:off x="0" y="960"/>
              <a:ext cx="5760" cy="2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endParaRPr lang="en-US" altLang="fr-FR" sz="1600" dirty="0">
                <a:solidFill>
                  <a:srgbClr val="FF0000"/>
                </a:solidFill>
                <a:latin typeface="Times New Roman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56073194"/>
      </p:ext>
    </p:extLst>
  </p:cSld>
  <p:clrMapOvr>
    <a:masterClrMapping/>
  </p:clrMapOvr>
  <p:transition>
    <p:randomBar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1826" name="Rectangle 2"/>
          <p:cNvSpPr>
            <a:spLocks noGrp="1" noChangeArrowheads="1"/>
          </p:cNvSpPr>
          <p:nvPr>
            <p:ph type="title"/>
          </p:nvPr>
        </p:nvSpPr>
        <p:spPr>
          <a:xfrm>
            <a:off x="2286000" y="381000"/>
            <a:ext cx="7772400" cy="685800"/>
          </a:xfrm>
        </p:spPr>
        <p:txBody>
          <a:bodyPr/>
          <a:lstStyle/>
          <a:p>
            <a:pPr algn="ctr"/>
            <a:r>
              <a:rPr lang="en-GB" altLang="fr-FR" dirty="0" smtClean="0"/>
              <a:t>INFLUENCE DU TRAITEMENT</a:t>
            </a:r>
            <a:endParaRPr lang="en-GB" altLang="fr-FR" dirty="0"/>
          </a:p>
        </p:txBody>
      </p:sp>
      <p:sp>
        <p:nvSpPr>
          <p:cNvPr id="13" name="Espace réservé du numéro de diapositive 2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4AC2CCD6-3713-4F17-9BD3-D6638794842F}" type="slidenum">
              <a:rPr lang="en-GB" altLang="fr-FR"/>
              <a:pPr/>
              <a:t>26</a:t>
            </a:fld>
            <a:endParaRPr lang="en-GB" altLang="fr-FR" dirty="0"/>
          </a:p>
        </p:txBody>
      </p:sp>
      <p:graphicFrame>
        <p:nvGraphicFramePr>
          <p:cNvPr id="461827" name="Object 3"/>
          <p:cNvGraphicFramePr>
            <a:graphicFrameLocks noChangeAspect="1"/>
          </p:cNvGraphicFramePr>
          <p:nvPr/>
        </p:nvGraphicFramePr>
        <p:xfrm>
          <a:off x="2667001" y="1676400"/>
          <a:ext cx="2906713" cy="21717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4" name="Image" r:id="rId4" imgW="2906127" imgH="2172088" progId="Word.Picture.8">
                  <p:embed/>
                </p:oleObj>
              </mc:Choice>
              <mc:Fallback>
                <p:oleObj name="Image" r:id="rId4" imgW="2906127" imgH="2172088" progId="Word.Picture.8">
                  <p:embed/>
                  <p:pic>
                    <p:nvPicPr>
                      <p:cNvPr id="461827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67001" y="1676400"/>
                        <a:ext cx="2906713" cy="21717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2700">
                            <a:solidFill>
                              <a:schemeClr val="tx1"/>
                            </a:solidFill>
                            <a:miter lim="800000"/>
                            <a:headEnd type="none" w="sm" len="sm"/>
                            <a:tailEnd type="none" w="sm" len="sm"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61828" name="Object 4"/>
          <p:cNvGraphicFramePr>
            <a:graphicFrameLocks noChangeAspect="1"/>
          </p:cNvGraphicFramePr>
          <p:nvPr/>
        </p:nvGraphicFramePr>
        <p:xfrm>
          <a:off x="6402388" y="1600200"/>
          <a:ext cx="2906712" cy="21796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5" name="Document" r:id="rId6" imgW="2905920" imgH="2180520" progId="Word.Document.8">
                  <p:embed/>
                </p:oleObj>
              </mc:Choice>
              <mc:Fallback>
                <p:oleObj name="Document" r:id="rId6" imgW="2905920" imgH="2180520" progId="Word.Document.8">
                  <p:embed/>
                  <p:pic>
                    <p:nvPicPr>
                      <p:cNvPr id="461828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402388" y="1600200"/>
                        <a:ext cx="2906712" cy="21796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2700">
                            <a:solidFill>
                              <a:schemeClr val="tx1"/>
                            </a:solidFill>
                            <a:miter lim="800000"/>
                            <a:headEnd type="none" w="sm" len="sm"/>
                            <a:tailEnd type="none" w="sm" len="sm"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61829" name="Object 5"/>
          <p:cNvGraphicFramePr>
            <a:graphicFrameLocks noChangeAspect="1"/>
          </p:cNvGraphicFramePr>
          <p:nvPr>
            <p:extLst/>
          </p:nvPr>
        </p:nvGraphicFramePr>
        <p:xfrm>
          <a:off x="2667000" y="4039898"/>
          <a:ext cx="2906712" cy="21796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6" name="Document" r:id="rId8" imgW="2905920" imgH="2180520" progId="Word.Document.8">
                  <p:embed/>
                </p:oleObj>
              </mc:Choice>
              <mc:Fallback>
                <p:oleObj name="Document" r:id="rId8" imgW="2905920" imgH="2180520" progId="Word.Document.8">
                  <p:embed/>
                  <p:pic>
                    <p:nvPicPr>
                      <p:cNvPr id="461829" name="Object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67000" y="4039898"/>
                        <a:ext cx="2906712" cy="21796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2700">
                            <a:solidFill>
                              <a:schemeClr val="tx1"/>
                            </a:solidFill>
                            <a:miter lim="800000"/>
                            <a:headEnd type="none" w="sm" len="sm"/>
                            <a:tailEnd type="none" w="sm" len="sm"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61830" name="Object 6"/>
          <p:cNvGraphicFramePr>
            <a:graphicFrameLocks noChangeAspect="1"/>
          </p:cNvGraphicFramePr>
          <p:nvPr/>
        </p:nvGraphicFramePr>
        <p:xfrm>
          <a:off x="6326188" y="4038600"/>
          <a:ext cx="2906712" cy="21796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7" name="Document" r:id="rId10" imgW="2905920" imgH="2180520" progId="Word.Document.8">
                  <p:embed/>
                </p:oleObj>
              </mc:Choice>
              <mc:Fallback>
                <p:oleObj name="Document" r:id="rId10" imgW="2905920" imgH="2180520" progId="Word.Document.8">
                  <p:embed/>
                  <p:pic>
                    <p:nvPicPr>
                      <p:cNvPr id="461830" name="Object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26188" y="4038600"/>
                        <a:ext cx="2906712" cy="21796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2700">
                            <a:solidFill>
                              <a:schemeClr val="tx1"/>
                            </a:solidFill>
                            <a:miter lim="800000"/>
                            <a:headEnd type="none" w="sm" len="sm"/>
                            <a:tailEnd type="none" w="sm" len="sm"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1831" name="Text Box 7"/>
          <p:cNvSpPr txBox="1">
            <a:spLocks noChangeArrowheads="1"/>
          </p:cNvSpPr>
          <p:nvPr/>
        </p:nvSpPr>
        <p:spPr bwMode="auto">
          <a:xfrm>
            <a:off x="3048001" y="1066800"/>
            <a:ext cx="98616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GB" altLang="fr-FR" dirty="0">
                <a:latin typeface="Tahoma" pitchFamily="34" charset="0"/>
              </a:rPr>
              <a:t>INITIAL</a:t>
            </a:r>
          </a:p>
        </p:txBody>
      </p:sp>
      <p:sp>
        <p:nvSpPr>
          <p:cNvPr id="461832" name="Text Box 8"/>
          <p:cNvSpPr txBox="1">
            <a:spLocks noChangeArrowheads="1"/>
          </p:cNvSpPr>
          <p:nvPr/>
        </p:nvSpPr>
        <p:spPr bwMode="auto">
          <a:xfrm>
            <a:off x="6705601" y="1066800"/>
            <a:ext cx="79861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GB" altLang="fr-FR" dirty="0">
                <a:latin typeface="Tahoma" pitchFamily="34" charset="0"/>
              </a:rPr>
              <a:t>FINAL</a:t>
            </a:r>
          </a:p>
        </p:txBody>
      </p:sp>
      <p:sp>
        <p:nvSpPr>
          <p:cNvPr id="461833" name="Text Box 9"/>
          <p:cNvSpPr txBox="1">
            <a:spLocks noChangeArrowheads="1"/>
          </p:cNvSpPr>
          <p:nvPr/>
        </p:nvSpPr>
        <p:spPr bwMode="auto">
          <a:xfrm>
            <a:off x="4872039" y="3429000"/>
            <a:ext cx="166263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US" altLang="fr-FR" b="1" dirty="0">
                <a:solidFill>
                  <a:srgbClr val="FF3300"/>
                </a:solidFill>
                <a:latin typeface="Tahoma" pitchFamily="34" charset="0"/>
              </a:rPr>
              <a:t>With coating</a:t>
            </a:r>
            <a:endParaRPr lang="en-US" altLang="fr-FR" dirty="0">
              <a:latin typeface="Tahoma" pitchFamily="34" charset="0"/>
            </a:endParaRPr>
          </a:p>
        </p:txBody>
      </p:sp>
      <p:sp>
        <p:nvSpPr>
          <p:cNvPr id="461834" name="Text Box 10"/>
          <p:cNvSpPr txBox="1">
            <a:spLocks noChangeArrowheads="1"/>
          </p:cNvSpPr>
          <p:nvPr/>
        </p:nvSpPr>
        <p:spPr bwMode="auto">
          <a:xfrm>
            <a:off x="4914538" y="5762336"/>
            <a:ext cx="1465466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US" altLang="fr-FR" b="1" dirty="0">
                <a:solidFill>
                  <a:srgbClr val="FF3300"/>
                </a:solidFill>
                <a:latin typeface="Tahoma" pitchFamily="34" charset="0"/>
              </a:rPr>
              <a:t>No Coating</a:t>
            </a:r>
            <a:endParaRPr lang="en-US" altLang="fr-FR" dirty="0">
              <a:latin typeface="Tahoma" pitchFamily="34" charset="0"/>
            </a:endParaRPr>
          </a:p>
        </p:txBody>
      </p:sp>
      <p:sp>
        <p:nvSpPr>
          <p:cNvPr id="461835" name="Text Box 11"/>
          <p:cNvSpPr txBox="1">
            <a:spLocks noChangeArrowheads="1"/>
          </p:cNvSpPr>
          <p:nvPr/>
        </p:nvSpPr>
        <p:spPr bwMode="auto">
          <a:xfrm>
            <a:off x="7830561" y="3429001"/>
            <a:ext cx="2917825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en-GB" altLang="fr-FR" sz="2000" b="1" dirty="0">
                <a:solidFill>
                  <a:srgbClr val="FF33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3,150,000 roll-overs</a:t>
            </a:r>
            <a:endParaRPr lang="en-GB" altLang="fr-FR" sz="2000" dirty="0">
              <a:solidFill>
                <a:schemeClr val="accent2"/>
              </a:solidFill>
              <a:latin typeface="Tahoma" pitchFamily="34" charset="0"/>
            </a:endParaRPr>
          </a:p>
        </p:txBody>
      </p:sp>
      <p:sp>
        <p:nvSpPr>
          <p:cNvPr id="461836" name="Text Box 12"/>
          <p:cNvSpPr txBox="1">
            <a:spLocks noChangeArrowheads="1"/>
          </p:cNvSpPr>
          <p:nvPr/>
        </p:nvSpPr>
        <p:spPr bwMode="auto">
          <a:xfrm>
            <a:off x="7377113" y="5734050"/>
            <a:ext cx="2539478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GB" altLang="fr-FR" b="1" dirty="0">
                <a:solidFill>
                  <a:srgbClr val="FF3300"/>
                </a:solidFill>
                <a:latin typeface="Tahoma" pitchFamily="34" charset="0"/>
              </a:rPr>
              <a:t>1,450,000 roll-overs</a:t>
            </a:r>
            <a:endParaRPr lang="en-GB" altLang="fr-FR" dirty="0"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788359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18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618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618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18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618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618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6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18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4618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618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21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18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618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618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 nodeType="clickPar">
                      <p:stCondLst>
                        <p:cond delay="indefinite"/>
                      </p:stCondLst>
                      <p:childTnLst>
                        <p:par>
                          <p:cTn id="2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18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4618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4618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 nodeType="clickPar">
                      <p:stCondLst>
                        <p:cond delay="indefinite"/>
                      </p:stCondLst>
                      <p:childTnLst>
                        <p:par>
                          <p:cTn id="3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18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4618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618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 nodeType="clickPar">
                      <p:stCondLst>
                        <p:cond delay="indefinite"/>
                      </p:stCondLst>
                      <p:childTnLst>
                        <p:par>
                          <p:cTn id="3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18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4618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4618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 nodeType="clickPar">
                      <p:stCondLst>
                        <p:cond delay="indefinite"/>
                      </p:stCondLst>
                      <p:childTnLst>
                        <p:par>
                          <p:cTn id="4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18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618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4618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 nodeType="clickPar">
                      <p:stCondLst>
                        <p:cond delay="indefinite"/>
                      </p:stCondLst>
                      <p:childTnLst>
                        <p:par>
                          <p:cTn id="5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18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4618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4618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 nodeType="clickPar">
                      <p:stCondLst>
                        <p:cond delay="indefinite"/>
                      </p:stCondLst>
                      <p:childTnLst>
                        <p:par>
                          <p:cTn id="5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18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618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618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 nodeType="clickPar">
                      <p:stCondLst>
                        <p:cond delay="indefinite"/>
                      </p:stCondLst>
                      <p:childTnLst>
                        <p:par>
                          <p:cTn id="6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3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18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4618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4618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1826" grpId="0" autoUpdateAnimBg="0"/>
      <p:bldP spid="461831" grpId="0" autoUpdateAnimBg="0"/>
      <p:bldP spid="461832" grpId="0" autoUpdateAnimBg="0"/>
      <p:bldP spid="461833" grpId="0" autoUpdateAnimBg="0"/>
      <p:bldP spid="461834" grpId="0" autoUpdateAnimBg="0"/>
      <p:bldP spid="461835" grpId="0" autoUpdateAnimBg="0"/>
      <p:bldP spid="461836" grpId="0" autoUpdateAnimBg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3"/>
          <p:cNvSpPr>
            <a:spLocks noGrp="1"/>
          </p:cNvSpPr>
          <p:nvPr>
            <p:ph type="sldNum" sz="quarter" idx="4294967295"/>
          </p:nvPr>
        </p:nvSpPr>
        <p:spPr>
          <a:xfrm>
            <a:off x="2209800" y="6400800"/>
            <a:ext cx="19050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8AED404E-8BD3-43CE-87F6-13F7FF7FADC0}" type="slidenum">
              <a:rPr lang="en-GB" altLang="fr-FR"/>
              <a:pPr>
                <a:defRPr/>
              </a:pPr>
              <a:t>27</a:t>
            </a:fld>
            <a:endParaRPr lang="en-GB" altLang="fr-FR" dirty="0"/>
          </a:p>
        </p:txBody>
      </p:sp>
      <p:pic>
        <p:nvPicPr>
          <p:cNvPr id="477186" name="Picture 2" descr="paresse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5413" y="549275"/>
            <a:ext cx="4318000" cy="378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7187" name="WordArt 3"/>
          <p:cNvSpPr>
            <a:spLocks noChangeArrowheads="1" noChangeShapeType="1" noTextEdit="1"/>
          </p:cNvSpPr>
          <p:nvPr/>
        </p:nvSpPr>
        <p:spPr bwMode="auto">
          <a:xfrm rot="-235554">
            <a:off x="3432177" y="4868863"/>
            <a:ext cx="5699125" cy="647700"/>
          </a:xfrm>
          <a:prstGeom prst="rect">
            <a:avLst/>
          </a:prstGeom>
        </p:spPr>
        <p:txBody>
          <a:bodyPr spcFirstLastPara="1" wrap="none" fromWordArt="1">
            <a:prstTxWarp prst="textArchUp">
              <a:avLst>
                <a:gd name="adj" fmla="val 10800000"/>
              </a:avLst>
            </a:prstTxWarp>
          </a:bodyPr>
          <a:lstStyle/>
          <a:p>
            <a:r>
              <a:rPr lang="fr-FR" sz="3600" kern="10" dirty="0">
                <a:ln w="9525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  <a:solidFill>
                  <a:srgbClr val="000000"/>
                </a:solidFill>
                <a:latin typeface="Arial Black"/>
              </a:rPr>
              <a:t>PRESQUE FINI !...</a:t>
            </a:r>
          </a:p>
        </p:txBody>
      </p:sp>
    </p:spTree>
    <p:extLst>
      <p:ext uri="{BB962C8B-B14F-4D97-AF65-F5344CB8AC3E}">
        <p14:creationId xmlns:p14="http://schemas.microsoft.com/office/powerpoint/2010/main" val="912241615"/>
      </p:ext>
    </p:extLst>
  </p:cSld>
  <p:clrMapOvr>
    <a:masterClrMapping/>
  </p:clrMapOvr>
  <p:transition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7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155" decel="100000"/>
                                        <p:tgtEl>
                                          <p:spTgt spid="47718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" dur="1155" decel="100000"/>
                                        <p:tgtEl>
                                          <p:spTgt spid="477186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9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477186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0" dur="1155" fill="hold"/>
                                        <p:tgtEl>
                                          <p:spTgt spid="4771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1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4771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2" dur="1155" fill="hold"/>
                                        <p:tgtEl>
                                          <p:spTgt spid="4771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3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4771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15" presetID="26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7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718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71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71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4771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4771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4771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47718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47718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47718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47718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47718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47718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47718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47718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7187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ous-titre 4"/>
          <p:cNvSpPr txBox="1">
            <a:spLocks noGrp="1"/>
          </p:cNvSpPr>
          <p:nvPr>
            <p:ph type="subTitle" idx="1"/>
          </p:nvPr>
        </p:nvSpPr>
        <p:spPr>
          <a:xfrm>
            <a:off x="1775520" y="332656"/>
            <a:ext cx="8534400" cy="1752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 smtClean="0">
                <a:solidFill>
                  <a:srgbClr val="49C5B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CELERATEUR DE SECHAGE POUR PEINTURES A L’EAU</a:t>
            </a:r>
            <a:endParaRPr lang="fr-FR" sz="2800" dirty="0"/>
          </a:p>
        </p:txBody>
      </p:sp>
      <p:sp>
        <p:nvSpPr>
          <p:cNvPr id="6" name="ZoneTexte 5"/>
          <p:cNvSpPr txBox="1"/>
          <p:nvPr/>
        </p:nvSpPr>
        <p:spPr>
          <a:xfrm>
            <a:off x="2279576" y="964065"/>
            <a:ext cx="7689272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fr-FR" dirty="0" smtClean="0"/>
              <a:t>Ce produit consiste en un mélange de billes de saupoudrage et d’un additive spécifique de couleur blanche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fr-FR" dirty="0" smtClean="0"/>
              <a:t>Il est utilisable dans les mêmes conditions qu’un produit de saupoudrage classique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fr-FR" dirty="0" smtClean="0"/>
              <a:t>Temps de séchage divisé environ par 3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fr-FR" dirty="0" smtClean="0"/>
              <a:t>Applicable par en condition humide et par temps froid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fr-FR" dirty="0" smtClean="0"/>
              <a:t>Augmentation de la période d’applicabilité de la peinture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fr-FR" dirty="0" smtClean="0"/>
              <a:t>Augmentation de la productivité de la machine d’application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fr-FR" dirty="0" smtClean="0"/>
              <a:t>Possibilité de finir plus facilement le stock de peinture en fin de saison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fr-FR" dirty="0" smtClean="0"/>
              <a:t>Application de marquages Type II plus facile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fr-FR" dirty="0" smtClean="0"/>
              <a:t>Aucun impact négatif sur la durabilité et les performances de la peinture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fr-FR" dirty="0" smtClean="0"/>
              <a:t>Systèmes certifiés par l’ASCQUER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dirty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04318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/>
          <p:cNvSpPr txBox="1"/>
          <p:nvPr/>
        </p:nvSpPr>
        <p:spPr>
          <a:xfrm>
            <a:off x="4007768" y="332656"/>
            <a:ext cx="475252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dirty="0" smtClean="0">
                <a:solidFill>
                  <a:srgbClr val="49C5B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UELQUES EXEMPLES D’APPLICATIONS SUR ROUTE</a:t>
            </a:r>
            <a:endParaRPr lang="fr-FR" sz="2800" dirty="0"/>
          </a:p>
        </p:txBody>
      </p:sp>
      <p:graphicFrame>
        <p:nvGraphicFramePr>
          <p:cNvPr id="6" name="Tableau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0297169"/>
              </p:ext>
            </p:extLst>
          </p:nvPr>
        </p:nvGraphicFramePr>
        <p:xfrm>
          <a:off x="911423" y="1772816"/>
          <a:ext cx="10585175" cy="3017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61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322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2971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9867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76419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76419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Pays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Dosage peinture (g/m²)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Dosage accélérateur (g/m²)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Température</a:t>
                      </a:r>
                      <a:r>
                        <a:rPr lang="fr-FR" baseline="0" dirty="0" smtClean="0"/>
                        <a:t> extérieure (°C)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Taux d’humidité (%)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Temps de séchage réduit par</a:t>
                      </a:r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France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650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370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7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75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3 (8mn)</a:t>
                      </a:r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France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300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300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17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71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3 (8mn)</a:t>
                      </a:r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Hongrie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350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350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2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93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4 (4mn)</a:t>
                      </a:r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France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410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310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3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66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3 (4mn)</a:t>
                      </a:r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3" name="Obje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2275748"/>
              </p:ext>
            </p:extLst>
          </p:nvPr>
        </p:nvGraphicFramePr>
        <p:xfrm>
          <a:off x="4223792" y="5085184"/>
          <a:ext cx="2900363" cy="604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9" name="Objet d’environnement du Gestionnaire de liaisons" showAsIcon="1" r:id="rId3" imgW="2900520" imgH="605160" progId="Package">
                  <p:embed/>
                </p:oleObj>
              </mc:Choice>
              <mc:Fallback>
                <p:oleObj name="Objet d’environnement du Gestionnaire de liaisons" showAsIcon="1" r:id="rId3" imgW="2900520" imgH="60516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223792" y="5085184"/>
                        <a:ext cx="2900363" cy="604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79273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fld id="{D151A809-D1E0-4C78-996D-01E8378DD378}" type="slidenum">
              <a:rPr lang="en-GB" altLang="fr-FR" sz="1400">
                <a:latin typeface="Times New Roman" panose="02020603050405020304" pitchFamily="18" charset="0"/>
              </a:rPr>
              <a:pPr/>
              <a:t>3</a:t>
            </a:fld>
            <a:endParaRPr lang="en-GB" altLang="fr-FR" sz="1400" dirty="0">
              <a:latin typeface="Times New Roman" panose="02020603050405020304" pitchFamily="18" charset="0"/>
            </a:endParaRPr>
          </a:p>
        </p:txBody>
      </p:sp>
      <p:pic>
        <p:nvPicPr>
          <p:cNvPr id="482306" name="Picture 2" descr="old striper with out-rigge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877697"/>
      </p:ext>
    </p:extLst>
  </p:cSld>
  <p:clrMapOvr>
    <a:masterClrMapping/>
  </p:clrMapOvr>
  <p:transition>
    <p:randomBa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23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48230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48230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000"/>
                                        <p:tgtEl>
                                          <p:spTgt spid="4823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ncient road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754" y="-460375"/>
            <a:ext cx="9859108" cy="7778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36829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numéro de diapositive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1424DB13-31B0-4ADE-9D64-96EB290A9192}" type="slidenum">
              <a:rPr lang="en-GB" altLang="fr-FR"/>
              <a:pPr/>
              <a:t>31</a:t>
            </a:fld>
            <a:endParaRPr lang="en-GB" altLang="fr-FR" dirty="0"/>
          </a:p>
        </p:txBody>
      </p:sp>
      <p:pic>
        <p:nvPicPr>
          <p:cNvPr id="479234" name="Picture 2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1" y="0"/>
            <a:ext cx="9142413" cy="6381328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rgbClr val="CF0E3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9235" name="Rectangle 3"/>
          <p:cNvSpPr>
            <a:spLocks noChangeArrowheads="1"/>
          </p:cNvSpPr>
          <p:nvPr/>
        </p:nvSpPr>
        <p:spPr bwMode="auto">
          <a:xfrm>
            <a:off x="1876426" y="4876800"/>
            <a:ext cx="613951" cy="4007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>
            <a:lvl1pPr defTabSz="762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en-US" altLang="fr-FR" sz="2000" dirty="0">
                <a:solidFill>
                  <a:srgbClr val="FFFFFF"/>
                </a:solidFill>
                <a:latin typeface="Arial" panose="020B0604020202020204" pitchFamily="34" charset="0"/>
              </a:rPr>
              <a:t>600</a:t>
            </a:r>
            <a:endParaRPr lang="en-US" altLang="fr-FR" sz="1800" b="1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79236" name="Rectangle 4"/>
          <p:cNvSpPr>
            <a:spLocks noChangeArrowheads="1"/>
          </p:cNvSpPr>
          <p:nvPr/>
        </p:nvSpPr>
        <p:spPr bwMode="auto">
          <a:xfrm>
            <a:off x="9877426" y="4876800"/>
            <a:ext cx="471283" cy="4007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>
            <a:lvl1pPr defTabSz="762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en-US" altLang="fr-FR" sz="2000" dirty="0">
                <a:solidFill>
                  <a:srgbClr val="FFFFFF"/>
                </a:solidFill>
                <a:latin typeface="Arial" panose="020B0604020202020204" pitchFamily="34" charset="0"/>
              </a:rPr>
              <a:t>50</a:t>
            </a:r>
            <a:endParaRPr lang="en-US" altLang="fr-FR" sz="1800" b="1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79237" name="Rectangle 5"/>
          <p:cNvSpPr>
            <a:spLocks noChangeArrowheads="1"/>
          </p:cNvSpPr>
          <p:nvPr/>
        </p:nvSpPr>
        <p:spPr bwMode="auto">
          <a:xfrm>
            <a:off x="8277226" y="4876800"/>
            <a:ext cx="613951" cy="4007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>
            <a:lvl1pPr defTabSz="762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en-US" altLang="fr-FR" sz="2000" dirty="0">
                <a:solidFill>
                  <a:srgbClr val="FFFFFF"/>
                </a:solidFill>
                <a:latin typeface="Arial" panose="020B0604020202020204" pitchFamily="34" charset="0"/>
              </a:rPr>
              <a:t>100</a:t>
            </a:r>
            <a:endParaRPr lang="en-US" altLang="fr-FR" sz="1800" b="1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79238" name="Rectangle 6"/>
          <p:cNvSpPr>
            <a:spLocks noChangeArrowheads="1"/>
          </p:cNvSpPr>
          <p:nvPr/>
        </p:nvSpPr>
        <p:spPr bwMode="auto">
          <a:xfrm>
            <a:off x="6829426" y="4876800"/>
            <a:ext cx="613951" cy="4007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>
            <a:lvl1pPr defTabSz="762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en-US" altLang="fr-FR" sz="2000" dirty="0">
                <a:solidFill>
                  <a:srgbClr val="FFFFFF"/>
                </a:solidFill>
                <a:latin typeface="Arial" panose="020B0604020202020204" pitchFamily="34" charset="0"/>
              </a:rPr>
              <a:t>150</a:t>
            </a:r>
            <a:endParaRPr lang="en-US" altLang="fr-FR" sz="1800" b="1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79239" name="Rectangle 7"/>
          <p:cNvSpPr>
            <a:spLocks noChangeArrowheads="1"/>
          </p:cNvSpPr>
          <p:nvPr/>
        </p:nvSpPr>
        <p:spPr bwMode="auto">
          <a:xfrm>
            <a:off x="5153026" y="4876800"/>
            <a:ext cx="613951" cy="4007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>
            <a:lvl1pPr defTabSz="762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en-US" altLang="fr-FR" sz="2000" dirty="0">
                <a:solidFill>
                  <a:srgbClr val="FFFFFF"/>
                </a:solidFill>
                <a:latin typeface="Arial" panose="020B0604020202020204" pitchFamily="34" charset="0"/>
              </a:rPr>
              <a:t>200</a:t>
            </a:r>
            <a:endParaRPr lang="en-US" altLang="fr-FR" sz="1800" b="1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79240" name="Rectangle 8"/>
          <p:cNvSpPr>
            <a:spLocks noChangeArrowheads="1"/>
          </p:cNvSpPr>
          <p:nvPr/>
        </p:nvSpPr>
        <p:spPr bwMode="auto">
          <a:xfrm>
            <a:off x="3476626" y="4876800"/>
            <a:ext cx="613951" cy="4007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>
            <a:lvl1pPr defTabSz="762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71500" defTabSz="762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defTabSz="762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714500" defTabSz="762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286000" defTabSz="762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en-US" altLang="fr-FR" sz="2000" dirty="0">
                <a:solidFill>
                  <a:srgbClr val="FFFFFF"/>
                </a:solidFill>
                <a:latin typeface="Arial" panose="020B0604020202020204" pitchFamily="34" charset="0"/>
              </a:rPr>
              <a:t>300</a:t>
            </a:r>
            <a:endParaRPr lang="en-US" altLang="fr-FR" sz="1800" b="1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79241" name="Rectangle 9"/>
          <p:cNvSpPr>
            <a:spLocks noChangeArrowheads="1"/>
          </p:cNvSpPr>
          <p:nvPr/>
        </p:nvSpPr>
        <p:spPr bwMode="auto">
          <a:xfrm>
            <a:off x="2855913" y="692150"/>
            <a:ext cx="5076390" cy="6469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r" eaLnBrk="0" hangingPunct="0"/>
            <a:r>
              <a:rPr lang="en-US" altLang="fr-FR" sz="3600" dirty="0" smtClean="0">
                <a:solidFill>
                  <a:srgbClr val="FFFF00"/>
                </a:solidFill>
                <a:latin typeface="Arial" panose="020B0604020202020204" pitchFamily="34" charset="0"/>
              </a:rPr>
              <a:t>Visibilité d’un marquage</a:t>
            </a:r>
            <a:endParaRPr lang="en-US" altLang="fr-FR" sz="3600" dirty="0">
              <a:solidFill>
                <a:srgbClr val="FFFF00"/>
              </a:solidFill>
              <a:latin typeface="Arial" panose="020B0604020202020204" pitchFamily="34" charset="0"/>
            </a:endParaRPr>
          </a:p>
        </p:txBody>
      </p:sp>
      <p:sp>
        <p:nvSpPr>
          <p:cNvPr id="479242" name="Rectangle 10"/>
          <p:cNvSpPr>
            <a:spLocks noChangeArrowheads="1"/>
          </p:cNvSpPr>
          <p:nvPr/>
        </p:nvSpPr>
        <p:spPr bwMode="auto">
          <a:xfrm>
            <a:off x="4727576" y="5734050"/>
            <a:ext cx="2510367" cy="4007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hangingPunct="0"/>
            <a:r>
              <a:rPr lang="en-US" altLang="fr-FR" sz="2000" dirty="0">
                <a:solidFill>
                  <a:srgbClr val="FFFFFF"/>
                </a:solidFill>
                <a:latin typeface="Arial" panose="020B0604020202020204" pitchFamily="34" charset="0"/>
              </a:rPr>
              <a:t>       R</a:t>
            </a:r>
            <a:r>
              <a:rPr lang="en-US" altLang="fr-FR" sz="2000" baseline="-25000" dirty="0">
                <a:solidFill>
                  <a:srgbClr val="FFFFFF"/>
                </a:solidFill>
                <a:latin typeface="Arial" panose="020B0604020202020204" pitchFamily="34" charset="0"/>
              </a:rPr>
              <a:t>L </a:t>
            </a:r>
            <a:r>
              <a:rPr lang="en-US" altLang="fr-FR" sz="2000" dirty="0">
                <a:solidFill>
                  <a:srgbClr val="FFFFFF"/>
                </a:solidFill>
                <a:latin typeface="Arial" panose="020B0604020202020204" pitchFamily="34" charset="0"/>
              </a:rPr>
              <a:t>in mcd/m</a:t>
            </a:r>
            <a:r>
              <a:rPr lang="en-US" altLang="fr-FR" sz="2000" baseline="30000" dirty="0">
                <a:solidFill>
                  <a:srgbClr val="FFFFFF"/>
                </a:solidFill>
                <a:latin typeface="Arial" panose="020B0604020202020204" pitchFamily="34" charset="0"/>
              </a:rPr>
              <a:t>2 </a:t>
            </a:r>
            <a:r>
              <a:rPr lang="en-US" altLang="fr-FR" sz="2000" dirty="0">
                <a:solidFill>
                  <a:srgbClr val="FFFFFF"/>
                </a:solidFill>
                <a:latin typeface="Arial" panose="020B0604020202020204" pitchFamily="34" charset="0"/>
              </a:rPr>
              <a:t>/ lx</a:t>
            </a:r>
            <a:endParaRPr lang="en-US" altLang="fr-FR" b="1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9295323"/>
      </p:ext>
    </p:extLst>
  </p:cSld>
  <p:clrMapOvr>
    <a:masterClrMapping/>
  </p:clrMapOvr>
  <p:transition>
    <p:randomBar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us-titre 3"/>
          <p:cNvSpPr txBox="1">
            <a:spLocks noGrp="1"/>
          </p:cNvSpPr>
          <p:nvPr>
            <p:ph type="subTitle" idx="1"/>
          </p:nvPr>
        </p:nvSpPr>
        <p:spPr>
          <a:xfrm>
            <a:off x="2895600" y="2819400"/>
            <a:ext cx="6400800" cy="20374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4000" dirty="0" smtClean="0">
                <a:solidFill>
                  <a:srgbClr val="49C5B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Merci pour votre attention!</a:t>
            </a:r>
          </a:p>
          <a:p>
            <a:endParaRPr lang="fr-FR" sz="4000" dirty="0">
              <a:solidFill>
                <a:srgbClr val="49C5B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07765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9491" name="Rectangle 3"/>
          <p:cNvSpPr>
            <a:spLocks noGrp="1" noChangeArrowheads="1"/>
          </p:cNvSpPr>
          <p:nvPr>
            <p:ph type="title"/>
          </p:nvPr>
        </p:nvSpPr>
        <p:spPr>
          <a:xfrm>
            <a:off x="2057400" y="533400"/>
            <a:ext cx="7772400" cy="609600"/>
          </a:xfrm>
        </p:spPr>
        <p:txBody>
          <a:bodyPr>
            <a:normAutofit fontScale="90000"/>
          </a:bodyPr>
          <a:lstStyle/>
          <a:p>
            <a:pPr algn="ctr" eaLnBrk="0" hangingPunct="0"/>
            <a:r>
              <a:rPr lang="en-US" altLang="fr-FR" dirty="0"/>
              <a:t>P</a:t>
            </a:r>
            <a:r>
              <a:rPr lang="en-US" altLang="fr-FR" dirty="0" smtClean="0"/>
              <a:t>rincipe de fabrication</a:t>
            </a:r>
            <a:endParaRPr lang="en-US" altLang="fr-FR" i="1" dirty="0"/>
          </a:p>
        </p:txBody>
      </p:sp>
      <p:sp>
        <p:nvSpPr>
          <p:cNvPr id="7" name="Espace réservé du numéro de diapositive 3"/>
          <p:cNvSpPr>
            <a:spLocks noGrp="1"/>
          </p:cNvSpPr>
          <p:nvPr>
            <p:ph type="sldNum" sz="quarter" idx="4294967295"/>
          </p:nvPr>
        </p:nvSpPr>
        <p:spPr>
          <a:xfrm>
            <a:off x="2209800" y="6400800"/>
            <a:ext cx="1905000" cy="457200"/>
          </a:xfrm>
          <a:prstGeom prst="rect">
            <a:avLst/>
          </a:prstGeom>
        </p:spPr>
        <p:txBody>
          <a:bodyPr/>
          <a:lstStyle/>
          <a:p>
            <a:fld id="{E1984B55-BB69-49CB-8879-9C53347AB60D}" type="slidenum">
              <a:rPr lang="en-GB" altLang="fr-FR"/>
              <a:pPr/>
              <a:t>4</a:t>
            </a:fld>
            <a:endParaRPr lang="en-GB" altLang="fr-FR" dirty="0"/>
          </a:p>
        </p:txBody>
      </p:sp>
      <p:pic>
        <p:nvPicPr>
          <p:cNvPr id="319490" name="Picture 2" descr="schema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289" y="1595439"/>
            <a:ext cx="8353425" cy="3667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9492" name="Picture 4" descr="P119019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9201" y="1143001"/>
            <a:ext cx="1528763" cy="1146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9493" name="Picture 5" descr="P119017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7837" y="1214436"/>
            <a:ext cx="1528763" cy="1146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9494" name="Text Box 6"/>
          <p:cNvSpPr txBox="1">
            <a:spLocks noChangeArrowheads="1"/>
          </p:cNvSpPr>
          <p:nvPr/>
        </p:nvSpPr>
        <p:spPr bwMode="auto">
          <a:xfrm>
            <a:off x="3276600" y="5334000"/>
            <a:ext cx="586740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fr-FR" altLang="fr-FR" b="1" i="1" dirty="0">
                <a:latin typeface="Times New Roman" pitchFamily="18" charset="0"/>
              </a:rPr>
              <a:t>.</a:t>
            </a:r>
            <a:endParaRPr lang="en-GB" altLang="fr-FR" b="1" i="1" dirty="0"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2736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94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194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194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94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194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194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94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194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194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94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194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194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9494" grpId="0" autoUpdateAnimBg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TINTIN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6058" y="250652"/>
            <a:ext cx="4279775" cy="634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>
              <a:defRPr/>
            </a:pPr>
            <a:r>
              <a:rPr lang="nl-BE" dirty="0" smtClean="0"/>
              <a:t>Date</a:t>
            </a:r>
            <a:endParaRPr lang="fr-BE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- CONFIDENTIAL -</a:t>
            </a:r>
            <a:endParaRPr lang="fr-BE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447D3AE0-FB8A-4915-B100-4144755AAF93}" type="slidenum">
              <a:rPr lang="fr-BE" smtClean="0"/>
              <a:pPr>
                <a:defRPr/>
              </a:pPr>
              <a:t>5</a:t>
            </a:fld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3202641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fr-FR" dirty="0" smtClean="0"/>
              <a:t>Principaux</a:t>
            </a:r>
            <a:r>
              <a:rPr lang="nl-BE" dirty="0" smtClean="0"/>
              <a:t> </a:t>
            </a:r>
            <a:r>
              <a:rPr lang="fr-FR" dirty="0" smtClean="0"/>
              <a:t>marchés</a:t>
            </a:r>
            <a:endParaRPr lang="fr-FR" dirty="0"/>
          </a:p>
        </p:txBody>
      </p:sp>
      <p:sp>
        <p:nvSpPr>
          <p:cNvPr id="29" name="Tijdelijke aanduiding voor voettekst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- CONFIDENTIAL -</a:t>
            </a:r>
            <a:endParaRPr lang="fr-BE" dirty="0"/>
          </a:p>
        </p:txBody>
      </p:sp>
      <p:sp>
        <p:nvSpPr>
          <p:cNvPr id="30" name="Tijdelijke aanduiding voor dianumm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447D3AE0-FB8A-4915-B100-4144755AAF93}" type="slidenum">
              <a:rPr lang="fr-BE" smtClean="0"/>
              <a:pPr>
                <a:defRPr/>
              </a:pPr>
              <a:t>6</a:t>
            </a:fld>
            <a:endParaRPr lang="fr-BE" dirty="0"/>
          </a:p>
        </p:txBody>
      </p:sp>
      <p:sp>
        <p:nvSpPr>
          <p:cNvPr id="26" name="Rectangle 25"/>
          <p:cNvSpPr/>
          <p:nvPr>
            <p:custDataLst>
              <p:tags r:id="rId1"/>
            </p:custDataLst>
          </p:nvPr>
        </p:nvSpPr>
        <p:spPr bwMode="auto">
          <a:xfrm>
            <a:off x="3117073" y="1340768"/>
            <a:ext cx="1396450" cy="414244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5720" rIns="9000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tabLst>
                <a:tab pos="5715000" algn="l"/>
              </a:tabLst>
            </a:pPr>
            <a:r>
              <a:rPr lang="fr-FR" sz="1100" b="1" kern="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Marquage</a:t>
            </a:r>
            <a:r>
              <a:rPr lang="en-GB" sz="1100" b="1" kern="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  <a:r>
              <a:rPr lang="fr-FR" sz="1100" b="1" kern="0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routier</a:t>
            </a:r>
            <a:endParaRPr lang="fr-FR" sz="1100" i="1" kern="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7" name="Rectangle 26"/>
          <p:cNvSpPr/>
          <p:nvPr>
            <p:custDataLst>
              <p:tags r:id="rId2"/>
            </p:custDataLst>
          </p:nvPr>
        </p:nvSpPr>
        <p:spPr bwMode="auto">
          <a:xfrm>
            <a:off x="4899560" y="1340768"/>
            <a:ext cx="1396450" cy="414244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5720" rIns="9000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tabLst>
                <a:tab pos="5715000" algn="l"/>
              </a:tabLst>
            </a:pPr>
            <a:r>
              <a:rPr lang="en-GB" sz="1100" b="1" kern="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Traitement</a:t>
            </a:r>
            <a:r>
              <a:rPr lang="en-GB" sz="1100" b="1" kern="0" dirty="0">
                <a:solidFill>
                  <a:schemeClr val="bg1"/>
                </a:solidFill>
                <a:latin typeface="+mj-lt"/>
                <a:cs typeface="Arial" pitchFamily="34" charset="0"/>
              </a:rPr>
              <a:t>  de surface</a:t>
            </a:r>
          </a:p>
        </p:txBody>
      </p:sp>
      <p:sp>
        <p:nvSpPr>
          <p:cNvPr id="28" name="Rectangle 27"/>
          <p:cNvSpPr/>
          <p:nvPr>
            <p:custDataLst>
              <p:tags r:id="rId3"/>
            </p:custDataLst>
          </p:nvPr>
        </p:nvSpPr>
        <p:spPr bwMode="auto">
          <a:xfrm>
            <a:off x="7557714" y="1340768"/>
            <a:ext cx="1396450" cy="414244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5720" rIns="9000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tabLst>
                <a:tab pos="5715000" algn="l"/>
              </a:tabLst>
            </a:pPr>
            <a:r>
              <a:rPr lang="en-GB" sz="1100" b="1" kern="0" dirty="0" err="1">
                <a:solidFill>
                  <a:schemeClr val="bg1"/>
                </a:solidFill>
                <a:latin typeface="+mj-lt"/>
                <a:cs typeface="Arial" pitchFamily="34" charset="0"/>
              </a:rPr>
              <a:t>Plasticques</a:t>
            </a:r>
            <a:endParaRPr lang="en-GB" sz="1100" i="1" kern="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34" name="Rectangle 33"/>
          <p:cNvSpPr/>
          <p:nvPr>
            <p:custDataLst>
              <p:tags r:id="rId4"/>
            </p:custDataLst>
          </p:nvPr>
        </p:nvSpPr>
        <p:spPr bwMode="auto">
          <a:xfrm>
            <a:off x="1695070" y="5792819"/>
            <a:ext cx="954346" cy="440826"/>
          </a:xfrm>
          <a:prstGeom prst="rect">
            <a:avLst/>
          </a:prstGeom>
          <a:noFill/>
          <a:ln w="9525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5720" rIns="90000" bIns="45720" numCol="1" rtlCol="0" anchor="ctr" anchorCtr="0" compatLnSpc="1">
            <a:prstTxWarp prst="textNoShape">
              <a:avLst/>
            </a:prstTxWarp>
          </a:bodyPr>
          <a:lstStyle/>
          <a:p>
            <a:pPr algn="r">
              <a:tabLst>
                <a:tab pos="5715000" algn="l"/>
              </a:tabLst>
            </a:pPr>
            <a:r>
              <a:rPr lang="en-GB" sz="1100" kern="0" dirty="0" err="1">
                <a:solidFill>
                  <a:srgbClr val="002060"/>
                </a:solidFill>
                <a:latin typeface="+mj-lt"/>
                <a:cs typeface="Arial" pitchFamily="34" charset="0"/>
              </a:rPr>
              <a:t>Taille</a:t>
            </a:r>
            <a:r>
              <a:rPr lang="en-GB" sz="1100" kern="0" dirty="0">
                <a:solidFill>
                  <a:srgbClr val="002060"/>
                </a:solidFill>
                <a:latin typeface="+mj-lt"/>
                <a:cs typeface="Arial" pitchFamily="34" charset="0"/>
              </a:rPr>
              <a:t> des </a:t>
            </a:r>
            <a:r>
              <a:rPr lang="en-GB" sz="1100" kern="0" dirty="0" err="1">
                <a:solidFill>
                  <a:srgbClr val="002060"/>
                </a:solidFill>
                <a:latin typeface="+mj-lt"/>
                <a:cs typeface="Arial" pitchFamily="34" charset="0"/>
              </a:rPr>
              <a:t>billes</a:t>
            </a:r>
            <a:endParaRPr lang="en-GB" sz="1100" i="1" kern="0" dirty="0">
              <a:solidFill>
                <a:srgbClr val="002060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35" name="Picture 2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391" t="33841" r="8708" b="19039"/>
          <a:stretch/>
        </p:blipFill>
        <p:spPr bwMode="auto">
          <a:xfrm>
            <a:off x="7715073" y="1831626"/>
            <a:ext cx="1034105" cy="3463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06" t="33841" r="68566" b="19039"/>
          <a:stretch/>
        </p:blipFill>
        <p:spPr bwMode="auto">
          <a:xfrm>
            <a:off x="3178492" y="1831623"/>
            <a:ext cx="1268929" cy="352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7" name="Picture 2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768" t="33841" r="38471" b="19039"/>
          <a:stretch/>
        </p:blipFill>
        <p:spPr bwMode="auto">
          <a:xfrm>
            <a:off x="5026224" y="1831626"/>
            <a:ext cx="1103241" cy="34710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9" name="Rectangle 38"/>
          <p:cNvSpPr/>
          <p:nvPr>
            <p:custDataLst>
              <p:tags r:id="rId5"/>
            </p:custDataLst>
          </p:nvPr>
        </p:nvSpPr>
        <p:spPr bwMode="auto">
          <a:xfrm>
            <a:off x="3131310" y="6306575"/>
            <a:ext cx="867587" cy="354158"/>
          </a:xfrm>
          <a:prstGeom prst="rect">
            <a:avLst/>
          </a:prstGeom>
          <a:noFill/>
          <a:ln w="9525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5720" rIns="9000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tabLst>
                <a:tab pos="5715000" algn="l"/>
              </a:tabLst>
            </a:pPr>
            <a:r>
              <a:rPr lang="en-GB" sz="1100" b="1" kern="0" dirty="0">
                <a:solidFill>
                  <a:srgbClr val="002060"/>
                </a:solidFill>
                <a:latin typeface="+mj-lt"/>
                <a:cs typeface="Arial" pitchFamily="34" charset="0"/>
              </a:rPr>
              <a:t>Large</a:t>
            </a:r>
            <a:endParaRPr lang="en-GB" sz="1100" i="1" kern="0" dirty="0">
              <a:solidFill>
                <a:srgbClr val="002060"/>
              </a:solidFill>
              <a:latin typeface="+mj-lt"/>
              <a:cs typeface="Arial" pitchFamily="34" charset="0"/>
            </a:endParaRPr>
          </a:p>
        </p:txBody>
      </p:sp>
      <p:sp>
        <p:nvSpPr>
          <p:cNvPr id="41" name="Rectangle 40"/>
          <p:cNvSpPr/>
          <p:nvPr>
            <p:custDataLst>
              <p:tags r:id="rId6"/>
            </p:custDataLst>
          </p:nvPr>
        </p:nvSpPr>
        <p:spPr bwMode="auto">
          <a:xfrm>
            <a:off x="9087103" y="6315202"/>
            <a:ext cx="867587" cy="354158"/>
          </a:xfrm>
          <a:prstGeom prst="rect">
            <a:avLst/>
          </a:prstGeom>
          <a:noFill/>
          <a:ln w="9525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5720" rIns="90000" bIns="45720" numCol="1" rtlCol="0" anchor="ctr" anchorCtr="0" compatLnSpc="1">
            <a:prstTxWarp prst="textNoShape">
              <a:avLst/>
            </a:prstTxWarp>
          </a:bodyPr>
          <a:lstStyle/>
          <a:p>
            <a:pPr algn="r">
              <a:tabLst>
                <a:tab pos="5715000" algn="l"/>
              </a:tabLst>
            </a:pPr>
            <a:r>
              <a:rPr lang="en-GB" sz="1100" b="1" kern="0" dirty="0">
                <a:solidFill>
                  <a:srgbClr val="002060"/>
                </a:solidFill>
                <a:latin typeface="+mj-lt"/>
                <a:cs typeface="Arial" pitchFamily="34" charset="0"/>
              </a:rPr>
              <a:t>Ultra Fine</a:t>
            </a:r>
            <a:endParaRPr lang="en-GB" sz="1100" i="1" kern="0" dirty="0">
              <a:solidFill>
                <a:srgbClr val="002060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3" name="Afbeelding 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126710" y="5509863"/>
            <a:ext cx="6582673" cy="733333"/>
          </a:xfrm>
          <a:prstGeom prst="rect">
            <a:avLst/>
          </a:prstGeom>
        </p:spPr>
      </p:pic>
      <p:cxnSp>
        <p:nvCxnSpPr>
          <p:cNvPr id="19" name="Rechte verbindingslijn 18"/>
          <p:cNvCxnSpPr/>
          <p:nvPr/>
        </p:nvCxnSpPr>
        <p:spPr>
          <a:xfrm flipV="1">
            <a:off x="9709382" y="5699350"/>
            <a:ext cx="0" cy="537962"/>
          </a:xfrm>
          <a:prstGeom prst="line">
            <a:avLst/>
          </a:prstGeom>
          <a:ln w="22225">
            <a:solidFill>
              <a:srgbClr val="C22A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kstvak 19"/>
          <p:cNvSpPr txBox="1"/>
          <p:nvPr/>
        </p:nvSpPr>
        <p:spPr>
          <a:xfrm>
            <a:off x="9687329" y="5573944"/>
            <a:ext cx="55656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/>
              <a:t>0-5 µm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8887695" y="5789739"/>
            <a:ext cx="696338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+mj-lt"/>
              </a:rPr>
              <a:t>40-200 µm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9419447" y="6207116"/>
            <a:ext cx="605599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+mj-lt"/>
              </a:rPr>
              <a:t>0-40 µm</a:t>
            </a:r>
          </a:p>
        </p:txBody>
      </p:sp>
      <p:sp>
        <p:nvSpPr>
          <p:cNvPr id="7" name="Rectangle 6"/>
          <p:cNvSpPr/>
          <p:nvPr/>
        </p:nvSpPr>
        <p:spPr>
          <a:xfrm>
            <a:off x="9523574" y="5511114"/>
            <a:ext cx="161748" cy="5248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wordArtVert" lIns="36000" tIns="36000" rIns="36000" bIns="36000" rtlCol="0" anchor="ctr">
            <a:normAutofit fontScale="32500" lnSpcReduction="20000"/>
          </a:bodyPr>
          <a:lstStyle/>
          <a:p>
            <a:pPr algn="ctr"/>
            <a:endParaRPr lang="en-US" b="1" dirty="0"/>
          </a:p>
        </p:txBody>
      </p:sp>
      <p:sp>
        <p:nvSpPr>
          <p:cNvPr id="9" name="Rectangle 8"/>
          <p:cNvSpPr/>
          <p:nvPr/>
        </p:nvSpPr>
        <p:spPr>
          <a:xfrm>
            <a:off x="5630719" y="5915283"/>
            <a:ext cx="797627" cy="1131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wordArtVert" lIns="36000" tIns="36000" rIns="36000" bIns="36000" rtlCol="0" anchor="ctr">
            <a:normAutofit/>
          </a:bodyPr>
          <a:lstStyle/>
          <a:p>
            <a:pPr algn="ctr"/>
            <a:endParaRPr lang="en-US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5804768" y="5789740"/>
            <a:ext cx="955604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+mj-lt"/>
              </a:rPr>
              <a:t>200-1700µm</a:t>
            </a:r>
          </a:p>
        </p:txBody>
      </p:sp>
      <p:cxnSp>
        <p:nvCxnSpPr>
          <p:cNvPr id="11" name="Rechte verbindingslijn met pijl 10"/>
          <p:cNvCxnSpPr>
            <a:cxnSpLocks/>
          </p:cNvCxnSpPr>
          <p:nvPr/>
        </p:nvCxnSpPr>
        <p:spPr>
          <a:xfrm>
            <a:off x="8616280" y="5229200"/>
            <a:ext cx="982408" cy="7916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9511543" y="6042433"/>
            <a:ext cx="185808" cy="200763"/>
          </a:xfrm>
          <a:prstGeom prst="rect">
            <a:avLst/>
          </a:prstGeom>
          <a:solidFill>
            <a:srgbClr val="EC55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wordArtVert" lIns="36000" tIns="36000" rIns="36000" bIns="36000" rtlCol="0" anchor="ctr">
            <a:normAutofit fontScale="40000" lnSpcReduction="20000"/>
          </a:bodyPr>
          <a:lstStyle/>
          <a:p>
            <a:pPr algn="ctr"/>
            <a:endParaRPr lang="en-US" b="1" dirty="0"/>
          </a:p>
        </p:txBody>
      </p:sp>
      <p:cxnSp>
        <p:nvCxnSpPr>
          <p:cNvPr id="17" name="Rechte verbindingslijn met pijl 16"/>
          <p:cNvCxnSpPr/>
          <p:nvPr/>
        </p:nvCxnSpPr>
        <p:spPr>
          <a:xfrm>
            <a:off x="4513523" y="5352620"/>
            <a:ext cx="1299705" cy="6305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Rechte verbindingslijn met pijl 4"/>
          <p:cNvCxnSpPr>
            <a:cxnSpLocks/>
            <a:endCxn id="7" idx="3"/>
          </p:cNvCxnSpPr>
          <p:nvPr/>
        </p:nvCxnSpPr>
        <p:spPr>
          <a:xfrm>
            <a:off x="8737600" y="4087622"/>
            <a:ext cx="947722" cy="16859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chte verbindingslijn met pijl 14"/>
          <p:cNvCxnSpPr/>
          <p:nvPr/>
        </p:nvCxnSpPr>
        <p:spPr>
          <a:xfrm>
            <a:off x="6168008" y="5157192"/>
            <a:ext cx="2919094" cy="87127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0478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5F65AEAE-526F-4E39-A5C9-F5E2828A73DA}" type="slidenum">
              <a:rPr lang="en-GB" altLang="fr-FR"/>
              <a:pPr/>
              <a:t>7</a:t>
            </a:fld>
            <a:endParaRPr lang="en-GB" altLang="fr-FR"/>
          </a:p>
        </p:txBody>
      </p:sp>
      <p:sp>
        <p:nvSpPr>
          <p:cNvPr id="310274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fr-FR" altLang="fr-FR" sz="3200" dirty="0" smtClean="0"/>
              <a:t>DE L’UTILITE DES BILLES DE VERRE POUR UN MARQUAGE ROUTIER</a:t>
            </a:r>
            <a:endParaRPr lang="fr-FR" altLang="fr-FR" sz="2400" dirty="0"/>
          </a:p>
        </p:txBody>
      </p:sp>
      <p:sp>
        <p:nvSpPr>
          <p:cNvPr id="3102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09800" y="2514600"/>
            <a:ext cx="7772400" cy="3505200"/>
          </a:xfrm>
        </p:spPr>
        <p:txBody>
          <a:bodyPr/>
          <a:lstStyle/>
          <a:p>
            <a:pPr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fr-FR" altLang="fr-FR" sz="2800" u="sng" dirty="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APPORTER </a:t>
            </a:r>
            <a:r>
              <a:rPr lang="fr-FR" altLang="fr-FR" sz="2800" u="sng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DE LA RETROREFLEXION</a:t>
            </a:r>
            <a:endParaRPr lang="fr-FR" altLang="fr-FR" sz="2400" u="sng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Ø"/>
            </a:pPr>
            <a:endParaRPr lang="fr-FR" altLang="fr-FR" sz="2400" u="sng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fr-FR" altLang="fr-FR" sz="2800" u="sng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AUGMENTER LA DURABILITE</a:t>
            </a:r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Ø"/>
            </a:pPr>
            <a:endParaRPr lang="fr-FR" altLang="fr-FR" sz="2800" u="sng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fr-FR" altLang="fr-FR" sz="2800" u="sng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DIMINUER LA GLISSANCE</a:t>
            </a:r>
          </a:p>
          <a:p>
            <a:pPr>
              <a:buClr>
                <a:srgbClr val="FF0000"/>
              </a:buClr>
            </a:pPr>
            <a:endParaRPr lang="fr-FR" altLang="fr-FR" sz="2800" u="sng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>
              <a:buClr>
                <a:srgbClr val="FF0000"/>
              </a:buClr>
            </a:pPr>
            <a:endParaRPr lang="fr-FR" altLang="fr-FR" sz="2400" dirty="0"/>
          </a:p>
          <a:p>
            <a:pPr>
              <a:buClr>
                <a:srgbClr val="FF0000"/>
              </a:buClr>
            </a:pPr>
            <a:endParaRPr lang="fr-FR" altLang="fr-FR" dirty="0"/>
          </a:p>
        </p:txBody>
      </p:sp>
    </p:spTree>
    <p:extLst>
      <p:ext uri="{BB962C8B-B14F-4D97-AF65-F5344CB8AC3E}">
        <p14:creationId xmlns:p14="http://schemas.microsoft.com/office/powerpoint/2010/main" val="59222181"/>
      </p:ext>
    </p:extLst>
  </p:cSld>
  <p:clrMapOvr>
    <a:masterClrMapping/>
  </p:clrMapOvr>
  <p:transition>
    <p:randomBa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0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102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02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102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0274" grpId="0"/>
      <p:bldP spid="31027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9298" name="Rectangle 2"/>
          <p:cNvSpPr>
            <a:spLocks noGrp="1" noChangeArrowheads="1"/>
          </p:cNvSpPr>
          <p:nvPr>
            <p:ph type="title"/>
          </p:nvPr>
        </p:nvSpPr>
        <p:spPr>
          <a:xfrm>
            <a:off x="1811338" y="0"/>
            <a:ext cx="8420100" cy="1066800"/>
          </a:xfrm>
          <a:noFill/>
          <a:ln/>
        </p:spPr>
        <p:txBody>
          <a:bodyPr/>
          <a:lstStyle/>
          <a:p>
            <a:r>
              <a:rPr lang="en-GB" altLang="fr-FR" sz="4000" dirty="0"/>
              <a:t>	</a:t>
            </a:r>
            <a:r>
              <a:rPr lang="en-GB" altLang="fr-FR" sz="4000" dirty="0" smtClean="0"/>
              <a:t>PRINCIPE DE LA RETROREFLEXION</a:t>
            </a:r>
            <a:endParaRPr lang="en-GB" altLang="fr-FR" sz="4000" dirty="0"/>
          </a:p>
        </p:txBody>
      </p:sp>
      <p:sp>
        <p:nvSpPr>
          <p:cNvPr id="5" name="Espace réservé du numéro de diapositive 3"/>
          <p:cNvSpPr>
            <a:spLocks noGrp="1"/>
          </p:cNvSpPr>
          <p:nvPr>
            <p:ph type="sldNum" sz="quarter" idx="4294967295"/>
          </p:nvPr>
        </p:nvSpPr>
        <p:spPr>
          <a:xfrm>
            <a:off x="2209800" y="6400800"/>
            <a:ext cx="1905000" cy="457200"/>
          </a:xfrm>
          <a:prstGeom prst="rect">
            <a:avLst/>
          </a:prstGeom>
        </p:spPr>
        <p:txBody>
          <a:bodyPr/>
          <a:lstStyle/>
          <a:p>
            <a:fld id="{EE6FDAB5-D4FD-448E-8FF4-568034E79434}" type="slidenum">
              <a:rPr lang="en-GB" altLang="fr-FR"/>
              <a:pPr/>
              <a:t>8</a:t>
            </a:fld>
            <a:endParaRPr lang="en-GB" altLang="fr-FR"/>
          </a:p>
        </p:txBody>
      </p:sp>
      <p:sp>
        <p:nvSpPr>
          <p:cNvPr id="439300" name="Rectangle 4"/>
          <p:cNvSpPr>
            <a:spLocks noGrp="1" noChangeArrowheads="1"/>
          </p:cNvSpPr>
          <p:nvPr>
            <p:ph sz="quarter" idx="1"/>
          </p:nvPr>
        </p:nvSpPr>
        <p:spPr>
          <a:xfrm>
            <a:off x="2209800" y="1905000"/>
            <a:ext cx="7772400" cy="4114800"/>
          </a:xfrm>
          <a:prstGeom prst="rect">
            <a:avLst/>
          </a:prstGeom>
          <a:noFill/>
          <a:ln/>
        </p:spPr>
        <p:txBody>
          <a:bodyPr/>
          <a:lstStyle/>
          <a:p>
            <a:endParaRPr lang="en-GB" altLang="fr-FR" sz="2200"/>
          </a:p>
          <a:p>
            <a:pPr>
              <a:buFontTx/>
              <a:buNone/>
            </a:pPr>
            <a:endParaRPr lang="en-GB" altLang="fr-FR" b="0"/>
          </a:p>
          <a:p>
            <a:pPr>
              <a:buFontTx/>
              <a:buNone/>
            </a:pPr>
            <a:endParaRPr lang="en-GB" altLang="fr-FR" b="0"/>
          </a:p>
        </p:txBody>
      </p:sp>
      <p:pic>
        <p:nvPicPr>
          <p:cNvPr id="439299" name="Picture 3" descr="Bead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686" b="24135"/>
          <a:stretch>
            <a:fillRect/>
          </a:stretch>
        </p:blipFill>
        <p:spPr bwMode="auto">
          <a:xfrm>
            <a:off x="1703389" y="1371600"/>
            <a:ext cx="8713787" cy="5081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4187850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929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300" fill="hold"/>
                                        <p:tgtEl>
                                          <p:spTgt spid="43929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300" fill="hold"/>
                                        <p:tgtEl>
                                          <p:spTgt spid="43929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4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92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3" dur="500"/>
                                        <p:tgtEl>
                                          <p:spTgt spid="439299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11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3" name="CAMERA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9298" grpId="0" build="p" autoUpdateAnimBg="0" advAuto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12B1AA3B-4A6C-4C22-8B56-483CFE1F320D}" type="slidenum">
              <a:rPr lang="en-GB" altLang="fr-FR"/>
              <a:pPr/>
              <a:t>9</a:t>
            </a:fld>
            <a:endParaRPr lang="en-GB" altLang="fr-FR"/>
          </a:p>
        </p:txBody>
      </p:sp>
      <p:sp>
        <p:nvSpPr>
          <p:cNvPr id="449538" name="Rectangle 2"/>
          <p:cNvSpPr>
            <a:spLocks noGrp="1" noChangeArrowheads="1"/>
          </p:cNvSpPr>
          <p:nvPr>
            <p:ph type="title"/>
          </p:nvPr>
        </p:nvSpPr>
        <p:spPr>
          <a:xfrm>
            <a:off x="2279650" y="0"/>
            <a:ext cx="7772400" cy="1143000"/>
          </a:xfrm>
        </p:spPr>
        <p:txBody>
          <a:bodyPr/>
          <a:lstStyle/>
          <a:p>
            <a:pPr algn="ctr"/>
            <a:r>
              <a:rPr lang="fr-FR" altLang="fr-FR" sz="3600" dirty="0" smtClean="0"/>
              <a:t>Vue d’un marquage en coupe</a:t>
            </a:r>
            <a:endParaRPr lang="fr-FR" altLang="fr-FR" sz="2800" dirty="0"/>
          </a:p>
        </p:txBody>
      </p:sp>
      <p:sp>
        <p:nvSpPr>
          <p:cNvPr id="44953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09800" y="1484314"/>
            <a:ext cx="7772400" cy="4535487"/>
          </a:xfrm>
        </p:spPr>
        <p:txBody>
          <a:bodyPr/>
          <a:lstStyle/>
          <a:p>
            <a:pPr marL="0" indent="0">
              <a:buClr>
                <a:srgbClr val="FF0000"/>
              </a:buClr>
              <a:buNone/>
            </a:pPr>
            <a:endParaRPr lang="fr-FR" altLang="fr-FR" sz="2400" u="sng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Ø"/>
            </a:pPr>
            <a:endParaRPr lang="fr-FR" altLang="fr-FR" sz="2400" u="sng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Ø"/>
            </a:pPr>
            <a:endParaRPr lang="fr-FR" altLang="fr-FR" sz="2400" u="sng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>
              <a:buClr>
                <a:srgbClr val="FF0000"/>
              </a:buClr>
              <a:buFont typeface="Wingdings" panose="05000000000000000000" pitchFamily="2" charset="2"/>
              <a:buChar char="Ø"/>
            </a:pPr>
            <a:endParaRPr lang="fr-FR" altLang="fr-FR" sz="2400" u="sng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>
              <a:buClr>
                <a:srgbClr val="FF0000"/>
              </a:buClr>
              <a:buFont typeface="Wingdings" panose="05000000000000000000" pitchFamily="2" charset="2"/>
              <a:buNone/>
            </a:pPr>
            <a:endParaRPr lang="fr-FR" altLang="fr-FR" sz="2800" u="sng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>
              <a:buClr>
                <a:srgbClr val="FF0000"/>
              </a:buClr>
            </a:pPr>
            <a:endParaRPr lang="fr-FR" altLang="fr-FR" sz="2800" u="sng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>
              <a:buClr>
                <a:srgbClr val="FF0000"/>
              </a:buClr>
            </a:pPr>
            <a:endParaRPr lang="fr-FR" altLang="fr-FR" sz="2400" dirty="0"/>
          </a:p>
          <a:p>
            <a:pPr>
              <a:buClr>
                <a:srgbClr val="FF0000"/>
              </a:buClr>
            </a:pPr>
            <a:endParaRPr lang="fr-FR" altLang="fr-FR" dirty="0"/>
          </a:p>
        </p:txBody>
      </p:sp>
      <p:pic>
        <p:nvPicPr>
          <p:cNvPr id="449542" name="Picture 6" descr="photo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7714" y="2276476"/>
            <a:ext cx="5616575" cy="381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6929354"/>
      </p:ext>
    </p:extLst>
  </p:cSld>
  <p:clrMapOvr>
    <a:masterClrMapping/>
  </p:clrMapOvr>
  <p:transition>
    <p:randomBa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95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4495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95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4495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9538" grpId="0"/>
      <p:bldP spid="449539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GSVac0EEGJCAMQOgqhz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GSVac0EEGJCAMQOgqhz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GSVac0EEGJCAMQOgqhz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GSVac0EEGJCAMQOgqhz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GSVac0EEGJCAMQOgqhz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GSVac0EEGJCAMQOgqhzA"/>
</p:tagLst>
</file>

<file path=ppt/theme/theme1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962</TotalTime>
  <Words>539</Words>
  <Application>Microsoft Office PowerPoint</Application>
  <PresentationFormat>Grand écran</PresentationFormat>
  <Paragraphs>199</Paragraphs>
  <Slides>32</Slides>
  <Notes>13</Notes>
  <HiddenSlides>0</HiddenSlides>
  <MMClips>0</MMClips>
  <ScaleCrop>false</ScaleCrop>
  <HeadingPairs>
    <vt:vector size="8" baseType="variant">
      <vt:variant>
        <vt:lpstr>Polices utilisées</vt:lpstr>
      </vt:variant>
      <vt:variant>
        <vt:i4>11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6</vt:i4>
      </vt:variant>
      <vt:variant>
        <vt:lpstr>Titres des diapositives</vt:lpstr>
      </vt:variant>
      <vt:variant>
        <vt:i4>32</vt:i4>
      </vt:variant>
    </vt:vector>
  </HeadingPairs>
  <TitlesOfParts>
    <vt:vector size="50" baseType="lpstr">
      <vt:lpstr>ＭＳ Ｐゴシック</vt:lpstr>
      <vt:lpstr>Arial</vt:lpstr>
      <vt:lpstr>Arial Black</vt:lpstr>
      <vt:lpstr>Calibri</vt:lpstr>
      <vt:lpstr>Cooper Md BT</vt:lpstr>
      <vt:lpstr>Courier New</vt:lpstr>
      <vt:lpstr>Open Sans</vt:lpstr>
      <vt:lpstr>Tahoma</vt:lpstr>
      <vt:lpstr>Tempus Sans ITC</vt:lpstr>
      <vt:lpstr>Times New Roman</vt:lpstr>
      <vt:lpstr>Wingdings</vt:lpstr>
      <vt:lpstr>Thème Office</vt:lpstr>
      <vt:lpstr>Image Bitmap</vt:lpstr>
      <vt:lpstr>Graphique</vt:lpstr>
      <vt:lpstr>Feuille de calcul</vt:lpstr>
      <vt:lpstr>Image</vt:lpstr>
      <vt:lpstr>Document</vt:lpstr>
      <vt:lpstr>Objet d’environnement du Gestionnaire de liaisons</vt:lpstr>
      <vt:lpstr>Présentation PowerPoint</vt:lpstr>
      <vt:lpstr>Présentation PowerPoint</vt:lpstr>
      <vt:lpstr>Présentation PowerPoint</vt:lpstr>
      <vt:lpstr>Principe de fabrication</vt:lpstr>
      <vt:lpstr>Présentation PowerPoint</vt:lpstr>
      <vt:lpstr>Principaux marchés</vt:lpstr>
      <vt:lpstr>DE L’UTILITE DES BILLES DE VERRE POUR UN MARQUAGE ROUTIER</vt:lpstr>
      <vt:lpstr> PRINCIPE DE LA RETROREFLEXION</vt:lpstr>
      <vt:lpstr>Vue d’un marquage en coupe</vt:lpstr>
      <vt:lpstr>Vue d’un marquage en coupe, avec agrégats</vt:lpstr>
      <vt:lpstr>LA SAINTE TRINITE DU MARQUAGE!</vt:lpstr>
      <vt:lpstr>PARAMETRES INFLUANT LA RETROREFLEXION</vt:lpstr>
      <vt:lpstr>Présentation PowerPoint</vt:lpstr>
      <vt:lpstr>Rétroréflexion en fonction du grammage</vt:lpstr>
      <vt:lpstr>Présentation PowerPoint</vt:lpstr>
      <vt:lpstr>Présentation PowerPoint</vt:lpstr>
      <vt:lpstr>AUGMENTER LE SRT</vt:lpstr>
      <vt:lpstr>Présentation PowerPoint</vt:lpstr>
      <vt:lpstr>Utilité du traiteme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INFLUENCE DU TRAITEME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MICHAUX Gauthier</dc:creator>
  <cp:lastModifiedBy>Pascal Hivert (Potters France)</cp:lastModifiedBy>
  <cp:revision>51</cp:revision>
  <cp:lastPrinted>2019-09-12T09:01:06Z</cp:lastPrinted>
  <dcterms:created xsi:type="dcterms:W3CDTF">2019-05-16T06:58:55Z</dcterms:created>
  <dcterms:modified xsi:type="dcterms:W3CDTF">2019-09-17T06:06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72a09c5-6e26-4737-a926-47ef1ab198ae_Enabled">
    <vt:lpwstr>True</vt:lpwstr>
  </property>
  <property fmtid="{D5CDD505-2E9C-101B-9397-08002B2CF9AE}" pid="3" name="MSIP_Label_e72a09c5-6e26-4737-a926-47ef1ab198ae_SiteId">
    <vt:lpwstr>1f816a84-7aa6-4a56-b22a-7b3452fa8681</vt:lpwstr>
  </property>
  <property fmtid="{D5CDD505-2E9C-101B-9397-08002B2CF9AE}" pid="4" name="MSIP_Label_e72a09c5-6e26-4737-a926-47ef1ab198ae_Owner">
    <vt:lpwstr>gauthier.michaux@spw.wallonie.be</vt:lpwstr>
  </property>
  <property fmtid="{D5CDD505-2E9C-101B-9397-08002B2CF9AE}" pid="5" name="MSIP_Label_e72a09c5-6e26-4737-a926-47ef1ab198ae_SetDate">
    <vt:lpwstr>2019-08-26T09:23:49.9623557Z</vt:lpwstr>
  </property>
  <property fmtid="{D5CDD505-2E9C-101B-9397-08002B2CF9AE}" pid="6" name="MSIP_Label_e72a09c5-6e26-4737-a926-47ef1ab198ae_Name">
    <vt:lpwstr>Confidentiel</vt:lpwstr>
  </property>
  <property fmtid="{D5CDD505-2E9C-101B-9397-08002B2CF9AE}" pid="7" name="MSIP_Label_e72a09c5-6e26-4737-a926-47ef1ab198ae_Application">
    <vt:lpwstr>Microsoft Azure Information Protection</vt:lpwstr>
  </property>
  <property fmtid="{D5CDD505-2E9C-101B-9397-08002B2CF9AE}" pid="8" name="MSIP_Label_e72a09c5-6e26-4737-a926-47ef1ab198ae_ActionId">
    <vt:lpwstr>3b1e44c1-89df-46dd-9a18-9aa7d29c9c6b</vt:lpwstr>
  </property>
  <property fmtid="{D5CDD505-2E9C-101B-9397-08002B2CF9AE}" pid="9" name="MSIP_Label_e72a09c5-6e26-4737-a926-47ef1ab198ae_Extended_MSFT_Method">
    <vt:lpwstr>Automatic</vt:lpwstr>
  </property>
  <property fmtid="{D5CDD505-2E9C-101B-9397-08002B2CF9AE}" pid="10" name="Sensitivity">
    <vt:lpwstr>Confidentiel</vt:lpwstr>
  </property>
</Properties>
</file>